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9" r:id="rId5"/>
    <p:sldMasterId id="2147483678" r:id="rId6"/>
    <p:sldMasterId id="2147483685" r:id="rId7"/>
    <p:sldMasterId id="2147483718" r:id="rId8"/>
    <p:sldMasterId id="2147483673" r:id="rId9"/>
  </p:sldMasterIdLst>
  <p:notesMasterIdLst>
    <p:notesMasterId r:id="rId25"/>
  </p:notesMasterIdLst>
  <p:sldIdLst>
    <p:sldId id="2147478195" r:id="rId10"/>
    <p:sldId id="2147478197" r:id="rId11"/>
    <p:sldId id="2147478198" r:id="rId12"/>
    <p:sldId id="2147478194" r:id="rId13"/>
    <p:sldId id="2147478192" r:id="rId14"/>
    <p:sldId id="2147478193" r:id="rId15"/>
    <p:sldId id="2147478185" r:id="rId16"/>
    <p:sldId id="2147478191" r:id="rId17"/>
    <p:sldId id="2147478190" r:id="rId18"/>
    <p:sldId id="2147478196" r:id="rId19"/>
    <p:sldId id="2147478202" r:id="rId20"/>
    <p:sldId id="2147478204" r:id="rId21"/>
    <p:sldId id="2147478203" r:id="rId22"/>
    <p:sldId id="2147478205" r:id="rId23"/>
    <p:sldId id="419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23800BC-2129-483D-A8C2-92141EA9086A}">
          <p14:sldIdLst>
            <p14:sldId id="2147478195"/>
            <p14:sldId id="2147478197"/>
            <p14:sldId id="2147478198"/>
            <p14:sldId id="2147478194"/>
            <p14:sldId id="2147478192"/>
            <p14:sldId id="2147478193"/>
            <p14:sldId id="2147478185"/>
            <p14:sldId id="2147478191"/>
            <p14:sldId id="2147478190"/>
            <p14:sldId id="2147478196"/>
            <p14:sldId id="2147478202"/>
            <p14:sldId id="2147478204"/>
            <p14:sldId id="2147478203"/>
            <p14:sldId id="2147478205"/>
          </p14:sldIdLst>
        </p14:section>
        <p14:section name="End Cards" id="{5E59C97D-DD91-634D-BAA2-231E85A6A672}">
          <p14:sldIdLst>
            <p14:sldId id="41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200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9C7413-BFB0-484A-AB99-245CD6747E98}" v="6" dt="2025-11-10T22:58:51.1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17" autoAdjust="0"/>
    <p:restoredTop sz="94660"/>
  </p:normalViewPr>
  <p:slideViewPr>
    <p:cSldViewPr snapToGrid="0">
      <p:cViewPr varScale="1">
        <p:scale>
          <a:sx n="142" d="100"/>
          <a:sy n="142" d="100"/>
        </p:scale>
        <p:origin x="1254" y="3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04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ipple, Leslie" userId="ab82f2fb-67c5-4a31-a884-d362a77bdd35" providerId="ADAL" clId="{7D29207B-1621-4BB5-8483-3FFD2F63383D}"/>
    <pc:docChg chg="undo custSel addSld delSld modSld sldOrd addMainMaster delMainMaster modSection">
      <pc:chgData name="Gipple, Leslie" userId="ab82f2fb-67c5-4a31-a884-d362a77bdd35" providerId="ADAL" clId="{7D29207B-1621-4BB5-8483-3FFD2F63383D}" dt="2025-11-10T23:30:15.475" v="341" actId="1076"/>
      <pc:docMkLst>
        <pc:docMk/>
      </pc:docMkLst>
      <pc:sldChg chg="del">
        <pc:chgData name="Gipple, Leslie" userId="ab82f2fb-67c5-4a31-a884-d362a77bdd35" providerId="ADAL" clId="{7D29207B-1621-4BB5-8483-3FFD2F63383D}" dt="2025-11-10T22:23:19.105" v="1" actId="47"/>
        <pc:sldMkLst>
          <pc:docMk/>
          <pc:sldMk cId="1397561975" sldId="311"/>
        </pc:sldMkLst>
      </pc:sldChg>
      <pc:sldChg chg="del">
        <pc:chgData name="Gipple, Leslie" userId="ab82f2fb-67c5-4a31-a884-d362a77bdd35" providerId="ADAL" clId="{7D29207B-1621-4BB5-8483-3FFD2F63383D}" dt="2025-11-10T22:23:18.408" v="0" actId="47"/>
        <pc:sldMkLst>
          <pc:docMk/>
          <pc:sldMk cId="2206305005" sldId="6247"/>
        </pc:sldMkLst>
      </pc:sldChg>
      <pc:sldChg chg="del">
        <pc:chgData name="Gipple, Leslie" userId="ab82f2fb-67c5-4a31-a884-d362a77bdd35" providerId="ADAL" clId="{7D29207B-1621-4BB5-8483-3FFD2F63383D}" dt="2025-11-10T22:27:15.261" v="9" actId="47"/>
        <pc:sldMkLst>
          <pc:docMk/>
          <pc:sldMk cId="1070624542" sldId="6251"/>
        </pc:sldMkLst>
      </pc:sldChg>
      <pc:sldChg chg="del">
        <pc:chgData name="Gipple, Leslie" userId="ab82f2fb-67c5-4a31-a884-d362a77bdd35" providerId="ADAL" clId="{7D29207B-1621-4BB5-8483-3FFD2F63383D}" dt="2025-11-10T22:27:13.716" v="4" actId="47"/>
        <pc:sldMkLst>
          <pc:docMk/>
          <pc:sldMk cId="3875851216" sldId="6270"/>
        </pc:sldMkLst>
      </pc:sldChg>
      <pc:sldChg chg="del">
        <pc:chgData name="Gipple, Leslie" userId="ab82f2fb-67c5-4a31-a884-d362a77bdd35" providerId="ADAL" clId="{7D29207B-1621-4BB5-8483-3FFD2F63383D}" dt="2025-11-10T22:27:16.048" v="13" actId="47"/>
        <pc:sldMkLst>
          <pc:docMk/>
          <pc:sldMk cId="2984113894" sldId="6271"/>
        </pc:sldMkLst>
      </pc:sldChg>
      <pc:sldChg chg="del">
        <pc:chgData name="Gipple, Leslie" userId="ab82f2fb-67c5-4a31-a884-d362a77bdd35" providerId="ADAL" clId="{7D29207B-1621-4BB5-8483-3FFD2F63383D}" dt="2025-11-10T22:27:15.876" v="12" actId="47"/>
        <pc:sldMkLst>
          <pc:docMk/>
          <pc:sldMk cId="100823306" sldId="2147468806"/>
        </pc:sldMkLst>
      </pc:sldChg>
      <pc:sldChg chg="del">
        <pc:chgData name="Gipple, Leslie" userId="ab82f2fb-67c5-4a31-a884-d362a77bdd35" providerId="ADAL" clId="{7D29207B-1621-4BB5-8483-3FFD2F63383D}" dt="2025-11-10T22:27:15.659" v="11" actId="47"/>
        <pc:sldMkLst>
          <pc:docMk/>
          <pc:sldMk cId="3512495135" sldId="2147468807"/>
        </pc:sldMkLst>
      </pc:sldChg>
      <pc:sldChg chg="del">
        <pc:chgData name="Gipple, Leslie" userId="ab82f2fb-67c5-4a31-a884-d362a77bdd35" providerId="ADAL" clId="{7D29207B-1621-4BB5-8483-3FFD2F63383D}" dt="2025-11-10T22:27:15.452" v="10" actId="47"/>
        <pc:sldMkLst>
          <pc:docMk/>
          <pc:sldMk cId="479641332" sldId="2147478175"/>
        </pc:sldMkLst>
      </pc:sldChg>
      <pc:sldChg chg="del">
        <pc:chgData name="Gipple, Leslie" userId="ab82f2fb-67c5-4a31-a884-d362a77bdd35" providerId="ADAL" clId="{7D29207B-1621-4BB5-8483-3FFD2F63383D}" dt="2025-11-10T22:27:14.155" v="5" actId="47"/>
        <pc:sldMkLst>
          <pc:docMk/>
          <pc:sldMk cId="2804230560" sldId="2147478181"/>
        </pc:sldMkLst>
      </pc:sldChg>
      <pc:sldChg chg="addSp delSp modSp mod ord">
        <pc:chgData name="Gipple, Leslie" userId="ab82f2fb-67c5-4a31-a884-d362a77bdd35" providerId="ADAL" clId="{7D29207B-1621-4BB5-8483-3FFD2F63383D}" dt="2025-11-10T23:21:08.892" v="271" actId="1076"/>
        <pc:sldMkLst>
          <pc:docMk/>
          <pc:sldMk cId="1970015250" sldId="2147478185"/>
        </pc:sldMkLst>
        <pc:picChg chg="add mod">
          <ac:chgData name="Gipple, Leslie" userId="ab82f2fb-67c5-4a31-a884-d362a77bdd35" providerId="ADAL" clId="{7D29207B-1621-4BB5-8483-3FFD2F63383D}" dt="2025-11-10T23:21:08.892" v="271" actId="1076"/>
          <ac:picMkLst>
            <pc:docMk/>
            <pc:sldMk cId="1970015250" sldId="2147478185"/>
            <ac:picMk id="4" creationId="{F2EE2D85-F521-1310-707A-B3D6A682431B}"/>
          </ac:picMkLst>
        </pc:picChg>
        <pc:picChg chg="mod">
          <ac:chgData name="Gipple, Leslie" userId="ab82f2fb-67c5-4a31-a884-d362a77bdd35" providerId="ADAL" clId="{7D29207B-1621-4BB5-8483-3FFD2F63383D}" dt="2025-11-10T23:21:06.844" v="270" actId="1076"/>
          <ac:picMkLst>
            <pc:docMk/>
            <pc:sldMk cId="1970015250" sldId="2147478185"/>
            <ac:picMk id="6" creationId="{EBFE184A-288D-3515-D944-2DD8DD8FEDD2}"/>
          </ac:picMkLst>
        </pc:picChg>
        <pc:picChg chg="del">
          <ac:chgData name="Gipple, Leslie" userId="ab82f2fb-67c5-4a31-a884-d362a77bdd35" providerId="ADAL" clId="{7D29207B-1621-4BB5-8483-3FFD2F63383D}" dt="2025-11-10T23:21:05.157" v="269" actId="478"/>
          <ac:picMkLst>
            <pc:docMk/>
            <pc:sldMk cId="1970015250" sldId="2147478185"/>
            <ac:picMk id="11" creationId="{2AE86B6E-EB63-9B1D-B5C9-77917DD33B98}"/>
          </ac:picMkLst>
        </pc:picChg>
      </pc:sldChg>
      <pc:sldChg chg="del">
        <pc:chgData name="Gipple, Leslie" userId="ab82f2fb-67c5-4a31-a884-d362a77bdd35" providerId="ADAL" clId="{7D29207B-1621-4BB5-8483-3FFD2F63383D}" dt="2025-11-10T22:27:14.456" v="6" actId="47"/>
        <pc:sldMkLst>
          <pc:docMk/>
          <pc:sldMk cId="4213387098" sldId="2147478186"/>
        </pc:sldMkLst>
      </pc:sldChg>
      <pc:sldChg chg="del">
        <pc:chgData name="Gipple, Leslie" userId="ab82f2fb-67c5-4a31-a884-d362a77bdd35" providerId="ADAL" clId="{7D29207B-1621-4BB5-8483-3FFD2F63383D}" dt="2025-11-10T22:27:14.749" v="7" actId="47"/>
        <pc:sldMkLst>
          <pc:docMk/>
          <pc:sldMk cId="1282435943" sldId="2147478188"/>
        </pc:sldMkLst>
      </pc:sldChg>
      <pc:sldChg chg="modSp del mod">
        <pc:chgData name="Gipple, Leslie" userId="ab82f2fb-67c5-4a31-a884-d362a77bdd35" providerId="ADAL" clId="{7D29207B-1621-4BB5-8483-3FFD2F63383D}" dt="2025-11-10T22:30:36.126" v="28" actId="47"/>
        <pc:sldMkLst>
          <pc:docMk/>
          <pc:sldMk cId="2981569505" sldId="2147478189"/>
        </pc:sldMkLst>
        <pc:picChg chg="mod">
          <ac:chgData name="Gipple, Leslie" userId="ab82f2fb-67c5-4a31-a884-d362a77bdd35" providerId="ADAL" clId="{7D29207B-1621-4BB5-8483-3FFD2F63383D}" dt="2025-11-10T22:23:22.892" v="2" actId="1076"/>
          <ac:picMkLst>
            <pc:docMk/>
            <pc:sldMk cId="2981569505" sldId="2147478189"/>
            <ac:picMk id="4" creationId="{3CB77CBD-BE4E-F5A3-A703-45A483918741}"/>
          </ac:picMkLst>
        </pc:picChg>
        <pc:picChg chg="mod">
          <ac:chgData name="Gipple, Leslie" userId="ab82f2fb-67c5-4a31-a884-d362a77bdd35" providerId="ADAL" clId="{7D29207B-1621-4BB5-8483-3FFD2F63383D}" dt="2025-11-10T22:27:06.231" v="3" actId="1076"/>
          <ac:picMkLst>
            <pc:docMk/>
            <pc:sldMk cId="2981569505" sldId="2147478189"/>
            <ac:picMk id="14" creationId="{198D901C-2668-3DFA-D843-6745588F30DE}"/>
          </ac:picMkLst>
        </pc:picChg>
      </pc:sldChg>
      <pc:sldChg chg="addSp delSp modSp mod">
        <pc:chgData name="Gipple, Leslie" userId="ab82f2fb-67c5-4a31-a884-d362a77bdd35" providerId="ADAL" clId="{7D29207B-1621-4BB5-8483-3FFD2F63383D}" dt="2025-11-10T22:49:19.869" v="80" actId="1076"/>
        <pc:sldMkLst>
          <pc:docMk/>
          <pc:sldMk cId="3514507106" sldId="2147478190"/>
        </pc:sldMkLst>
        <pc:picChg chg="add mod">
          <ac:chgData name="Gipple, Leslie" userId="ab82f2fb-67c5-4a31-a884-d362a77bdd35" providerId="ADAL" clId="{7D29207B-1621-4BB5-8483-3FFD2F63383D}" dt="2025-11-10T22:46:59.204" v="74" actId="1076"/>
          <ac:picMkLst>
            <pc:docMk/>
            <pc:sldMk cId="3514507106" sldId="2147478190"/>
            <ac:picMk id="3" creationId="{B8E7E539-94F6-9AAC-DB0B-3BC0D415FC3A}"/>
          </ac:picMkLst>
        </pc:picChg>
        <pc:picChg chg="del">
          <ac:chgData name="Gipple, Leslie" userId="ab82f2fb-67c5-4a31-a884-d362a77bdd35" providerId="ADAL" clId="{7D29207B-1621-4BB5-8483-3FFD2F63383D}" dt="2025-11-10T22:45:46.350" v="69" actId="478"/>
          <ac:picMkLst>
            <pc:docMk/>
            <pc:sldMk cId="3514507106" sldId="2147478190"/>
            <ac:picMk id="4" creationId="{A9B5FCE3-5062-6664-BEFE-A1E5CAA3A86A}"/>
          </ac:picMkLst>
        </pc:picChg>
        <pc:picChg chg="add mod">
          <ac:chgData name="Gipple, Leslie" userId="ab82f2fb-67c5-4a31-a884-d362a77bdd35" providerId="ADAL" clId="{7D29207B-1621-4BB5-8483-3FFD2F63383D}" dt="2025-11-10T22:47:31.461" v="77" actId="1076"/>
          <ac:picMkLst>
            <pc:docMk/>
            <pc:sldMk cId="3514507106" sldId="2147478190"/>
            <ac:picMk id="9" creationId="{D397B701-3D33-B2F4-98FC-6CFE33D5A208}"/>
          </ac:picMkLst>
        </pc:picChg>
        <pc:picChg chg="add mod">
          <ac:chgData name="Gipple, Leslie" userId="ab82f2fb-67c5-4a31-a884-d362a77bdd35" providerId="ADAL" clId="{7D29207B-1621-4BB5-8483-3FFD2F63383D}" dt="2025-11-10T22:49:19.869" v="80" actId="1076"/>
          <ac:picMkLst>
            <pc:docMk/>
            <pc:sldMk cId="3514507106" sldId="2147478190"/>
            <ac:picMk id="11" creationId="{FF74A3BC-2246-63B7-DAD5-9177C1E38350}"/>
          </ac:picMkLst>
        </pc:picChg>
        <pc:picChg chg="del">
          <ac:chgData name="Gipple, Leslie" userId="ab82f2fb-67c5-4a31-a884-d362a77bdd35" providerId="ADAL" clId="{7D29207B-1621-4BB5-8483-3FFD2F63383D}" dt="2025-11-10T22:45:46.998" v="70" actId="478"/>
          <ac:picMkLst>
            <pc:docMk/>
            <pc:sldMk cId="3514507106" sldId="2147478190"/>
            <ac:picMk id="12" creationId="{FB2D1877-6F4F-5ADA-CB6E-831DBC61484A}"/>
          </ac:picMkLst>
        </pc:picChg>
        <pc:picChg chg="del">
          <ac:chgData name="Gipple, Leslie" userId="ab82f2fb-67c5-4a31-a884-d362a77bdd35" providerId="ADAL" clId="{7D29207B-1621-4BB5-8483-3FFD2F63383D}" dt="2025-11-10T22:45:47.638" v="71" actId="478"/>
          <ac:picMkLst>
            <pc:docMk/>
            <pc:sldMk cId="3514507106" sldId="2147478190"/>
            <ac:picMk id="14" creationId="{9CDBABB5-3707-1D58-4C38-C061537FD1F6}"/>
          </ac:picMkLst>
        </pc:picChg>
      </pc:sldChg>
      <pc:sldChg chg="addSp delSp modSp mod ord">
        <pc:chgData name="Gipple, Leslie" userId="ab82f2fb-67c5-4a31-a884-d362a77bdd35" providerId="ADAL" clId="{7D29207B-1621-4BB5-8483-3FFD2F63383D}" dt="2025-11-10T22:42:06.339" v="59" actId="1076"/>
        <pc:sldMkLst>
          <pc:docMk/>
          <pc:sldMk cId="2572966826" sldId="2147478191"/>
        </pc:sldMkLst>
        <pc:picChg chg="del">
          <ac:chgData name="Gipple, Leslie" userId="ab82f2fb-67c5-4a31-a884-d362a77bdd35" providerId="ADAL" clId="{7D29207B-1621-4BB5-8483-3FFD2F63383D}" dt="2025-11-10T22:39:38.406" v="43" actId="478"/>
          <ac:picMkLst>
            <pc:docMk/>
            <pc:sldMk cId="2572966826" sldId="2147478191"/>
            <ac:picMk id="3" creationId="{0EB577CE-1A4F-9424-0D33-1AD3FE493D9F}"/>
          </ac:picMkLst>
        </pc:picChg>
        <pc:picChg chg="add mod">
          <ac:chgData name="Gipple, Leslie" userId="ab82f2fb-67c5-4a31-a884-d362a77bdd35" providerId="ADAL" clId="{7D29207B-1621-4BB5-8483-3FFD2F63383D}" dt="2025-11-10T22:42:03.010" v="58" actId="1076"/>
          <ac:picMkLst>
            <pc:docMk/>
            <pc:sldMk cId="2572966826" sldId="2147478191"/>
            <ac:picMk id="4" creationId="{6870B446-ED25-06BA-1780-AF57DBDCEDEA}"/>
          </ac:picMkLst>
        </pc:picChg>
        <pc:picChg chg="del">
          <ac:chgData name="Gipple, Leslie" userId="ab82f2fb-67c5-4a31-a884-d362a77bdd35" providerId="ADAL" clId="{7D29207B-1621-4BB5-8483-3FFD2F63383D}" dt="2025-11-10T22:40:19.150" v="49" actId="478"/>
          <ac:picMkLst>
            <pc:docMk/>
            <pc:sldMk cId="2572966826" sldId="2147478191"/>
            <ac:picMk id="9" creationId="{7EA8F85E-8500-2813-F682-1B913237BFBE}"/>
          </ac:picMkLst>
        </pc:picChg>
        <pc:picChg chg="add mod">
          <ac:chgData name="Gipple, Leslie" userId="ab82f2fb-67c5-4a31-a884-d362a77bdd35" providerId="ADAL" clId="{7D29207B-1621-4BB5-8483-3FFD2F63383D}" dt="2025-11-10T22:40:17.066" v="48" actId="1076"/>
          <ac:picMkLst>
            <pc:docMk/>
            <pc:sldMk cId="2572966826" sldId="2147478191"/>
            <ac:picMk id="10" creationId="{6BB7A4A4-DF5C-A2FA-93EF-072E90E6072F}"/>
          </ac:picMkLst>
        </pc:picChg>
        <pc:picChg chg="del">
          <ac:chgData name="Gipple, Leslie" userId="ab82f2fb-67c5-4a31-a884-d362a77bdd35" providerId="ADAL" clId="{7D29207B-1621-4BB5-8483-3FFD2F63383D}" dt="2025-11-10T22:39:11.317" v="40" actId="478"/>
          <ac:picMkLst>
            <pc:docMk/>
            <pc:sldMk cId="2572966826" sldId="2147478191"/>
            <ac:picMk id="11" creationId="{FD980CC6-FC32-A90C-5D14-2B9016B1A572}"/>
          </ac:picMkLst>
        </pc:picChg>
        <pc:picChg chg="add mod">
          <ac:chgData name="Gipple, Leslie" userId="ab82f2fb-67c5-4a31-a884-d362a77bdd35" providerId="ADAL" clId="{7D29207B-1621-4BB5-8483-3FFD2F63383D}" dt="2025-11-10T22:40:45.602" v="51" actId="1076"/>
          <ac:picMkLst>
            <pc:docMk/>
            <pc:sldMk cId="2572966826" sldId="2147478191"/>
            <ac:picMk id="13" creationId="{54995A4A-059F-4942-CFC0-D7BDF6E1A740}"/>
          </ac:picMkLst>
        </pc:picChg>
        <pc:picChg chg="add mod">
          <ac:chgData name="Gipple, Leslie" userId="ab82f2fb-67c5-4a31-a884-d362a77bdd35" providerId="ADAL" clId="{7D29207B-1621-4BB5-8483-3FFD2F63383D}" dt="2025-11-10T22:42:06.339" v="59" actId="1076"/>
          <ac:picMkLst>
            <pc:docMk/>
            <pc:sldMk cId="2572966826" sldId="2147478191"/>
            <ac:picMk id="15" creationId="{1210E0EC-3058-8C99-6764-B9D0B38E2634}"/>
          </ac:picMkLst>
        </pc:picChg>
      </pc:sldChg>
      <pc:sldChg chg="addSp delSp modSp add mod">
        <pc:chgData name="Gipple, Leslie" userId="ab82f2fb-67c5-4a31-a884-d362a77bdd35" providerId="ADAL" clId="{7D29207B-1621-4BB5-8483-3FFD2F63383D}" dt="2025-11-10T22:32:09.497" v="34" actId="1076"/>
        <pc:sldMkLst>
          <pc:docMk/>
          <pc:sldMk cId="3150233101" sldId="2147478192"/>
        </pc:sldMkLst>
        <pc:spChg chg="mod">
          <ac:chgData name="Gipple, Leslie" userId="ab82f2fb-67c5-4a31-a884-d362a77bdd35" providerId="ADAL" clId="{7D29207B-1621-4BB5-8483-3FFD2F63383D}" dt="2025-11-10T22:29:50.935" v="23" actId="1076"/>
          <ac:spMkLst>
            <pc:docMk/>
            <pc:sldMk cId="3150233101" sldId="2147478192"/>
            <ac:spMk id="12" creationId="{18AAA337-1022-8869-7BAE-E8749F533D22}"/>
          </ac:spMkLst>
        </pc:spChg>
        <pc:picChg chg="add mod">
          <ac:chgData name="Gipple, Leslie" userId="ab82f2fb-67c5-4a31-a884-d362a77bdd35" providerId="ADAL" clId="{7D29207B-1621-4BB5-8483-3FFD2F63383D}" dt="2025-11-10T22:32:07.328" v="33" actId="1076"/>
          <ac:picMkLst>
            <pc:docMk/>
            <pc:sldMk cId="3150233101" sldId="2147478192"/>
            <ac:picMk id="3" creationId="{D4C19517-71BB-EAF3-78BF-DBC21157DDBC}"/>
          </ac:picMkLst>
        </pc:picChg>
        <pc:picChg chg="del">
          <ac:chgData name="Gipple, Leslie" userId="ab82f2fb-67c5-4a31-a884-d362a77bdd35" providerId="ADAL" clId="{7D29207B-1621-4BB5-8483-3FFD2F63383D}" dt="2025-11-10T22:27:25.170" v="15" actId="478"/>
          <ac:picMkLst>
            <pc:docMk/>
            <pc:sldMk cId="3150233101" sldId="2147478192"/>
            <ac:picMk id="4" creationId="{108989CF-85D9-4C35-6C31-367A6ADE9D50}"/>
          </ac:picMkLst>
        </pc:picChg>
        <pc:picChg chg="add mod modCrop">
          <ac:chgData name="Gipple, Leslie" userId="ab82f2fb-67c5-4a31-a884-d362a77bdd35" providerId="ADAL" clId="{7D29207B-1621-4BB5-8483-3FFD2F63383D}" dt="2025-11-10T22:32:09.497" v="34" actId="1076"/>
          <ac:picMkLst>
            <pc:docMk/>
            <pc:sldMk cId="3150233101" sldId="2147478192"/>
            <ac:picMk id="9" creationId="{F065EFCC-8C3F-4472-67EB-BDA14D596FA6}"/>
          </ac:picMkLst>
        </pc:picChg>
        <pc:picChg chg="add del mod">
          <ac:chgData name="Gipple, Leslie" userId="ab82f2fb-67c5-4a31-a884-d362a77bdd35" providerId="ADAL" clId="{7D29207B-1621-4BB5-8483-3FFD2F63383D}" dt="2025-11-10T22:32:05.605" v="32" actId="478"/>
          <ac:picMkLst>
            <pc:docMk/>
            <pc:sldMk cId="3150233101" sldId="2147478192"/>
            <ac:picMk id="11" creationId="{F4CE3FFD-AE80-4E30-C40C-C4C65436CD5C}"/>
          </ac:picMkLst>
        </pc:picChg>
        <pc:picChg chg="del">
          <ac:chgData name="Gipple, Leslie" userId="ab82f2fb-67c5-4a31-a884-d362a77bdd35" providerId="ADAL" clId="{7D29207B-1621-4BB5-8483-3FFD2F63383D}" dt="2025-11-10T22:27:26.300" v="16" actId="478"/>
          <ac:picMkLst>
            <pc:docMk/>
            <pc:sldMk cId="3150233101" sldId="2147478192"/>
            <ac:picMk id="14" creationId="{7B6F8D72-6628-B192-2D4C-CA6CB1815B8F}"/>
          </ac:picMkLst>
        </pc:picChg>
      </pc:sldChg>
      <pc:sldChg chg="del">
        <pc:chgData name="Gipple, Leslie" userId="ab82f2fb-67c5-4a31-a884-d362a77bdd35" providerId="ADAL" clId="{7D29207B-1621-4BB5-8483-3FFD2F63383D}" dt="2025-11-10T22:27:15.025" v="8" actId="47"/>
        <pc:sldMkLst>
          <pc:docMk/>
          <pc:sldMk cId="3923832557" sldId="2147478192"/>
        </pc:sldMkLst>
      </pc:sldChg>
      <pc:sldChg chg="delSp modSp add mod">
        <pc:chgData name="Gipple, Leslie" userId="ab82f2fb-67c5-4a31-a884-d362a77bdd35" providerId="ADAL" clId="{7D29207B-1621-4BB5-8483-3FFD2F63383D}" dt="2025-11-10T22:32:17.728" v="37" actId="1076"/>
        <pc:sldMkLst>
          <pc:docMk/>
          <pc:sldMk cId="3988223020" sldId="2147478193"/>
        </pc:sldMkLst>
        <pc:picChg chg="del">
          <ac:chgData name="Gipple, Leslie" userId="ab82f2fb-67c5-4a31-a884-d362a77bdd35" providerId="ADAL" clId="{7D29207B-1621-4BB5-8483-3FFD2F63383D}" dt="2025-11-10T22:32:13.768" v="35" actId="478"/>
          <ac:picMkLst>
            <pc:docMk/>
            <pc:sldMk cId="3988223020" sldId="2147478193"/>
            <ac:picMk id="3" creationId="{7D6F1065-10E2-972E-D7F1-EC8B7C07934D}"/>
          </ac:picMkLst>
        </pc:picChg>
        <pc:picChg chg="del">
          <ac:chgData name="Gipple, Leslie" userId="ab82f2fb-67c5-4a31-a884-d362a77bdd35" providerId="ADAL" clId="{7D29207B-1621-4BB5-8483-3FFD2F63383D}" dt="2025-11-10T22:32:14.646" v="36" actId="478"/>
          <ac:picMkLst>
            <pc:docMk/>
            <pc:sldMk cId="3988223020" sldId="2147478193"/>
            <ac:picMk id="9" creationId="{F6D003A2-F294-585B-45BA-D6FFD63AF0BB}"/>
          </ac:picMkLst>
        </pc:picChg>
        <pc:picChg chg="mod">
          <ac:chgData name="Gipple, Leslie" userId="ab82f2fb-67c5-4a31-a884-d362a77bdd35" providerId="ADAL" clId="{7D29207B-1621-4BB5-8483-3FFD2F63383D}" dt="2025-11-10T22:32:17.728" v="37" actId="1076"/>
          <ac:picMkLst>
            <pc:docMk/>
            <pc:sldMk cId="3988223020" sldId="2147478193"/>
            <ac:picMk id="11" creationId="{58461E8F-5F08-DB32-3917-C715EFF10901}"/>
          </ac:picMkLst>
        </pc:picChg>
      </pc:sldChg>
      <pc:sldChg chg="addSp delSp modSp add mod">
        <pc:chgData name="Gipple, Leslie" userId="ab82f2fb-67c5-4a31-a884-d362a77bdd35" providerId="ADAL" clId="{7D29207B-1621-4BB5-8483-3FFD2F63383D}" dt="2025-11-10T22:50:36.505" v="102" actId="478"/>
        <pc:sldMkLst>
          <pc:docMk/>
          <pc:sldMk cId="2206305005" sldId="2147478194"/>
        </pc:sldMkLst>
        <pc:spChg chg="mod">
          <ac:chgData name="Gipple, Leslie" userId="ab82f2fb-67c5-4a31-a884-d362a77bdd35" providerId="ADAL" clId="{7D29207B-1621-4BB5-8483-3FFD2F63383D}" dt="2025-11-10T22:50:23.853" v="99" actId="20577"/>
          <ac:spMkLst>
            <pc:docMk/>
            <pc:sldMk cId="2206305005" sldId="2147478194"/>
            <ac:spMk id="2" creationId="{A3CEFF54-637A-1C4C-80D9-C4B9DD1EBC06}"/>
          </ac:spMkLst>
        </pc:spChg>
        <pc:spChg chg="add del mod">
          <ac:chgData name="Gipple, Leslie" userId="ab82f2fb-67c5-4a31-a884-d362a77bdd35" providerId="ADAL" clId="{7D29207B-1621-4BB5-8483-3FFD2F63383D}" dt="2025-11-10T22:50:32.253" v="101" actId="478"/>
          <ac:spMkLst>
            <pc:docMk/>
            <pc:sldMk cId="2206305005" sldId="2147478194"/>
            <ac:spMk id="6" creationId="{7BD3AB49-6AB4-BD74-236B-F265628C44E2}"/>
          </ac:spMkLst>
        </pc:spChg>
        <pc:spChg chg="del">
          <ac:chgData name="Gipple, Leslie" userId="ab82f2fb-67c5-4a31-a884-d362a77bdd35" providerId="ADAL" clId="{7D29207B-1621-4BB5-8483-3FFD2F63383D}" dt="2025-11-10T22:50:26.989" v="100" actId="478"/>
          <ac:spMkLst>
            <pc:docMk/>
            <pc:sldMk cId="2206305005" sldId="2147478194"/>
            <ac:spMk id="7" creationId="{57556FBA-8F4A-7E85-65D3-4E6BD94EC9D8}"/>
          </ac:spMkLst>
        </pc:spChg>
        <pc:picChg chg="del">
          <ac:chgData name="Gipple, Leslie" userId="ab82f2fb-67c5-4a31-a884-d362a77bdd35" providerId="ADAL" clId="{7D29207B-1621-4BB5-8483-3FFD2F63383D}" dt="2025-11-10T22:50:36.505" v="102" actId="478"/>
          <ac:picMkLst>
            <pc:docMk/>
            <pc:sldMk cId="2206305005" sldId="2147478194"/>
            <ac:picMk id="5" creationId="{B0621C10-5554-6EA5-5A64-B751C7E9172E}"/>
          </ac:picMkLst>
        </pc:picChg>
      </pc:sldChg>
      <pc:sldChg chg="modSp add mod">
        <pc:chgData name="Gipple, Leslie" userId="ab82f2fb-67c5-4a31-a884-d362a77bdd35" providerId="ADAL" clId="{7D29207B-1621-4BB5-8483-3FFD2F63383D}" dt="2025-11-10T22:50:50.691" v="112" actId="20577"/>
        <pc:sldMkLst>
          <pc:docMk/>
          <pc:sldMk cId="3778191189" sldId="2147478195"/>
        </pc:sldMkLst>
        <pc:spChg chg="mod">
          <ac:chgData name="Gipple, Leslie" userId="ab82f2fb-67c5-4a31-a884-d362a77bdd35" providerId="ADAL" clId="{7D29207B-1621-4BB5-8483-3FFD2F63383D}" dt="2025-11-10T22:50:50.691" v="112" actId="20577"/>
          <ac:spMkLst>
            <pc:docMk/>
            <pc:sldMk cId="3778191189" sldId="2147478195"/>
            <ac:spMk id="2" creationId="{CBD807D6-3C1D-B5CB-9960-E1F029ADB9C4}"/>
          </ac:spMkLst>
        </pc:spChg>
      </pc:sldChg>
      <pc:sldChg chg="addSp delSp modSp add mod">
        <pc:chgData name="Gipple, Leslie" userId="ab82f2fb-67c5-4a31-a884-d362a77bdd35" providerId="ADAL" clId="{7D29207B-1621-4BB5-8483-3FFD2F63383D}" dt="2025-11-10T22:54:00.337" v="123" actId="1076"/>
        <pc:sldMkLst>
          <pc:docMk/>
          <pc:sldMk cId="798079202" sldId="2147478196"/>
        </pc:sldMkLst>
        <pc:picChg chg="del">
          <ac:chgData name="Gipple, Leslie" userId="ab82f2fb-67c5-4a31-a884-d362a77bdd35" providerId="ADAL" clId="{7D29207B-1621-4BB5-8483-3FFD2F63383D}" dt="2025-11-10T22:52:32.279" v="114" actId="478"/>
          <ac:picMkLst>
            <pc:docMk/>
            <pc:sldMk cId="798079202" sldId="2147478196"/>
            <ac:picMk id="3" creationId="{0660FE15-EAE0-CA8C-089D-B81AB1D958A0}"/>
          </ac:picMkLst>
        </pc:picChg>
        <pc:picChg chg="add mod">
          <ac:chgData name="Gipple, Leslie" userId="ab82f2fb-67c5-4a31-a884-d362a77bdd35" providerId="ADAL" clId="{7D29207B-1621-4BB5-8483-3FFD2F63383D}" dt="2025-11-10T22:53:17.997" v="120" actId="1076"/>
          <ac:picMkLst>
            <pc:docMk/>
            <pc:sldMk cId="798079202" sldId="2147478196"/>
            <ac:picMk id="4" creationId="{C34E3760-2CF1-0ABB-976D-4400A60DBFB8}"/>
          </ac:picMkLst>
        </pc:picChg>
        <pc:picChg chg="del">
          <ac:chgData name="Gipple, Leslie" userId="ab82f2fb-67c5-4a31-a884-d362a77bdd35" providerId="ADAL" clId="{7D29207B-1621-4BB5-8483-3FFD2F63383D}" dt="2025-11-10T22:52:35.209" v="115" actId="478"/>
          <ac:picMkLst>
            <pc:docMk/>
            <pc:sldMk cId="798079202" sldId="2147478196"/>
            <ac:picMk id="9" creationId="{C19080BC-DFF8-DDAA-820D-8F574A5AE162}"/>
          </ac:picMkLst>
        </pc:picChg>
        <pc:picChg chg="add mod">
          <ac:chgData name="Gipple, Leslie" userId="ab82f2fb-67c5-4a31-a884-d362a77bdd35" providerId="ADAL" clId="{7D29207B-1621-4BB5-8483-3FFD2F63383D}" dt="2025-11-10T22:54:00.337" v="123" actId="1076"/>
          <ac:picMkLst>
            <pc:docMk/>
            <pc:sldMk cId="798079202" sldId="2147478196"/>
            <ac:picMk id="10" creationId="{CC37F598-51F3-857A-F956-A28E3583F8F9}"/>
          </ac:picMkLst>
        </pc:picChg>
        <pc:picChg chg="del">
          <ac:chgData name="Gipple, Leslie" userId="ab82f2fb-67c5-4a31-a884-d362a77bdd35" providerId="ADAL" clId="{7D29207B-1621-4BB5-8483-3FFD2F63383D}" dt="2025-11-10T22:52:36.059" v="116" actId="478"/>
          <ac:picMkLst>
            <pc:docMk/>
            <pc:sldMk cId="798079202" sldId="2147478196"/>
            <ac:picMk id="11" creationId="{1A2492EC-C2DD-7611-D02F-AFA89777B49E}"/>
          </ac:picMkLst>
        </pc:picChg>
      </pc:sldChg>
      <pc:sldChg chg="addSp delSp modSp add mod">
        <pc:chgData name="Gipple, Leslie" userId="ab82f2fb-67c5-4a31-a884-d362a77bdd35" providerId="ADAL" clId="{7D29207B-1621-4BB5-8483-3FFD2F63383D}" dt="2025-11-10T22:58:48.818" v="165"/>
        <pc:sldMkLst>
          <pc:docMk/>
          <pc:sldMk cId="3318099910" sldId="2147478197"/>
        </pc:sldMkLst>
        <pc:spChg chg="del mod">
          <ac:chgData name="Gipple, Leslie" userId="ab82f2fb-67c5-4a31-a884-d362a77bdd35" providerId="ADAL" clId="{7D29207B-1621-4BB5-8483-3FFD2F63383D}" dt="2025-11-10T22:58:41.904" v="163"/>
          <ac:spMkLst>
            <pc:docMk/>
            <pc:sldMk cId="3318099910" sldId="2147478197"/>
            <ac:spMk id="12" creationId="{BA6324FC-B0EF-E775-39DF-A2142AE93DD8}"/>
          </ac:spMkLst>
        </pc:spChg>
        <pc:spChg chg="mod">
          <ac:chgData name="Gipple, Leslie" userId="ab82f2fb-67c5-4a31-a884-d362a77bdd35" providerId="ADAL" clId="{7D29207B-1621-4BB5-8483-3FFD2F63383D}" dt="2025-11-10T22:56:07.123" v="155" actId="20577"/>
          <ac:spMkLst>
            <pc:docMk/>
            <pc:sldMk cId="3318099910" sldId="2147478197"/>
            <ac:spMk id="25" creationId="{62FE58E2-5C62-E08F-9458-957B977397E4}"/>
          </ac:spMkLst>
        </pc:spChg>
        <pc:picChg chg="del">
          <ac:chgData name="Gipple, Leslie" userId="ab82f2fb-67c5-4a31-a884-d362a77bdd35" providerId="ADAL" clId="{7D29207B-1621-4BB5-8483-3FFD2F63383D}" dt="2025-11-10T22:56:10.096" v="156" actId="478"/>
          <ac:picMkLst>
            <pc:docMk/>
            <pc:sldMk cId="3318099910" sldId="2147478197"/>
            <ac:picMk id="3" creationId="{DB878113-E25C-0C10-BBEC-0FA486099119}"/>
          </ac:picMkLst>
        </pc:picChg>
        <pc:picChg chg="add mod">
          <ac:chgData name="Gipple, Leslie" userId="ab82f2fb-67c5-4a31-a884-d362a77bdd35" providerId="ADAL" clId="{7D29207B-1621-4BB5-8483-3FFD2F63383D}" dt="2025-11-10T22:56:58.687" v="161" actId="1076"/>
          <ac:picMkLst>
            <pc:docMk/>
            <pc:sldMk cId="3318099910" sldId="2147478197"/>
            <ac:picMk id="4" creationId="{80A6211B-B348-26F1-A9BB-922D569BFF01}"/>
          </ac:picMkLst>
        </pc:picChg>
        <pc:picChg chg="add mod">
          <ac:chgData name="Gipple, Leslie" userId="ab82f2fb-67c5-4a31-a884-d362a77bdd35" providerId="ADAL" clId="{7D29207B-1621-4BB5-8483-3FFD2F63383D}" dt="2025-11-10T22:58:42.603" v="164"/>
          <ac:picMkLst>
            <pc:docMk/>
            <pc:sldMk cId="3318099910" sldId="2147478197"/>
            <ac:picMk id="6" creationId="{740834E1-47E2-F89C-703A-E17BB563F1BB}"/>
          </ac:picMkLst>
        </pc:picChg>
        <pc:picChg chg="del">
          <ac:chgData name="Gipple, Leslie" userId="ab82f2fb-67c5-4a31-a884-d362a77bdd35" providerId="ADAL" clId="{7D29207B-1621-4BB5-8483-3FFD2F63383D}" dt="2025-11-10T22:56:12.085" v="157" actId="478"/>
          <ac:picMkLst>
            <pc:docMk/>
            <pc:sldMk cId="3318099910" sldId="2147478197"/>
            <ac:picMk id="9" creationId="{9893E2BC-A8D5-A795-37E5-C74F89D094C5}"/>
          </ac:picMkLst>
        </pc:picChg>
        <pc:picChg chg="add mod">
          <ac:chgData name="Gipple, Leslie" userId="ab82f2fb-67c5-4a31-a884-d362a77bdd35" providerId="ADAL" clId="{7D29207B-1621-4BB5-8483-3FFD2F63383D}" dt="2025-11-10T22:58:48.818" v="165"/>
          <ac:picMkLst>
            <pc:docMk/>
            <pc:sldMk cId="3318099910" sldId="2147478197"/>
            <ac:picMk id="10" creationId="{31B2C797-5462-428A-D052-7C4762D8EDAE}"/>
          </ac:picMkLst>
        </pc:picChg>
      </pc:sldChg>
      <pc:sldChg chg="addSp delSp modSp add mod">
        <pc:chgData name="Gipple, Leslie" userId="ab82f2fb-67c5-4a31-a884-d362a77bdd35" providerId="ADAL" clId="{7D29207B-1621-4BB5-8483-3FFD2F63383D}" dt="2025-11-10T23:00:45.054" v="187" actId="1076"/>
        <pc:sldMkLst>
          <pc:docMk/>
          <pc:sldMk cId="1810539296" sldId="2147478198"/>
        </pc:sldMkLst>
        <pc:spChg chg="mod">
          <ac:chgData name="Gipple, Leslie" userId="ab82f2fb-67c5-4a31-a884-d362a77bdd35" providerId="ADAL" clId="{7D29207B-1621-4BB5-8483-3FFD2F63383D}" dt="2025-11-10T22:59:12.037" v="181" actId="20577"/>
          <ac:spMkLst>
            <pc:docMk/>
            <pc:sldMk cId="1810539296" sldId="2147478198"/>
            <ac:spMk id="25" creationId="{2D56640E-4C2D-FF5C-3B0F-9499A92508EC}"/>
          </ac:spMkLst>
        </pc:spChg>
        <pc:picChg chg="add mod">
          <ac:chgData name="Gipple, Leslie" userId="ab82f2fb-67c5-4a31-a884-d362a77bdd35" providerId="ADAL" clId="{7D29207B-1621-4BB5-8483-3FFD2F63383D}" dt="2025-11-10T23:00:09.571" v="184" actId="1076"/>
          <ac:picMkLst>
            <pc:docMk/>
            <pc:sldMk cId="1810539296" sldId="2147478198"/>
            <ac:picMk id="3" creationId="{1D7034BA-C779-87CA-4219-52AE71FB5976}"/>
          </ac:picMkLst>
        </pc:picChg>
        <pc:picChg chg="del">
          <ac:chgData name="Gipple, Leslie" userId="ab82f2fb-67c5-4a31-a884-d362a77bdd35" providerId="ADAL" clId="{7D29207B-1621-4BB5-8483-3FFD2F63383D}" dt="2025-11-10T22:59:05.691" v="169" actId="478"/>
          <ac:picMkLst>
            <pc:docMk/>
            <pc:sldMk cId="1810539296" sldId="2147478198"/>
            <ac:picMk id="4" creationId="{336633A8-E6D9-CE24-F8FF-1C67F0F80C58}"/>
          </ac:picMkLst>
        </pc:picChg>
        <pc:picChg chg="add mod">
          <ac:chgData name="Gipple, Leslie" userId="ab82f2fb-67c5-4a31-a884-d362a77bdd35" providerId="ADAL" clId="{7D29207B-1621-4BB5-8483-3FFD2F63383D}" dt="2025-11-10T23:00:45.054" v="187" actId="1076"/>
          <ac:picMkLst>
            <pc:docMk/>
            <pc:sldMk cId="1810539296" sldId="2147478198"/>
            <ac:picMk id="9" creationId="{19D95DB0-5B94-F923-BBD8-AF104D93581C}"/>
          </ac:picMkLst>
        </pc:picChg>
      </pc:sldChg>
      <pc:sldChg chg="new del">
        <pc:chgData name="Gipple, Leslie" userId="ab82f2fb-67c5-4a31-a884-d362a77bdd35" providerId="ADAL" clId="{7D29207B-1621-4BB5-8483-3FFD2F63383D}" dt="2025-11-10T22:58:59.534" v="167" actId="47"/>
        <pc:sldMkLst>
          <pc:docMk/>
          <pc:sldMk cId="2232483425" sldId="2147478198"/>
        </pc:sldMkLst>
      </pc:sldChg>
      <pc:sldChg chg="addSp delSp modSp add del mod">
        <pc:chgData name="Gipple, Leslie" userId="ab82f2fb-67c5-4a31-a884-d362a77bdd35" providerId="ADAL" clId="{7D29207B-1621-4BB5-8483-3FFD2F63383D}" dt="2025-11-10T23:20:52.913" v="268" actId="47"/>
        <pc:sldMkLst>
          <pc:docMk/>
          <pc:sldMk cId="310162410" sldId="2147478199"/>
        </pc:sldMkLst>
        <pc:picChg chg="del">
          <ac:chgData name="Gipple, Leslie" userId="ab82f2fb-67c5-4a31-a884-d362a77bdd35" providerId="ADAL" clId="{7D29207B-1621-4BB5-8483-3FFD2F63383D}" dt="2025-11-10T23:01:11.343" v="189" actId="478"/>
          <ac:picMkLst>
            <pc:docMk/>
            <pc:sldMk cId="310162410" sldId="2147478199"/>
            <ac:picMk id="3" creationId="{8A72248B-BBF0-319E-E954-5743AB4750EC}"/>
          </ac:picMkLst>
        </pc:picChg>
        <pc:picChg chg="add mod">
          <ac:chgData name="Gipple, Leslie" userId="ab82f2fb-67c5-4a31-a884-d362a77bdd35" providerId="ADAL" clId="{7D29207B-1621-4BB5-8483-3FFD2F63383D}" dt="2025-11-10T23:04:07.879" v="193" actId="1076"/>
          <ac:picMkLst>
            <pc:docMk/>
            <pc:sldMk cId="310162410" sldId="2147478199"/>
            <ac:picMk id="4" creationId="{3892B807-4C31-D780-FF4B-1B84CC0F8126}"/>
          </ac:picMkLst>
        </pc:picChg>
        <pc:picChg chg="del">
          <ac:chgData name="Gipple, Leslie" userId="ab82f2fb-67c5-4a31-a884-d362a77bdd35" providerId="ADAL" clId="{7D29207B-1621-4BB5-8483-3FFD2F63383D}" dt="2025-11-10T23:01:12.190" v="190" actId="478"/>
          <ac:picMkLst>
            <pc:docMk/>
            <pc:sldMk cId="310162410" sldId="2147478199"/>
            <ac:picMk id="9" creationId="{71D864F4-10BA-EE2C-5005-84FC125FFE30}"/>
          </ac:picMkLst>
        </pc:picChg>
        <pc:picChg chg="add mod">
          <ac:chgData name="Gipple, Leslie" userId="ab82f2fb-67c5-4a31-a884-d362a77bdd35" providerId="ADAL" clId="{7D29207B-1621-4BB5-8483-3FFD2F63383D}" dt="2025-11-10T23:04:48.346" v="196" actId="1076"/>
          <ac:picMkLst>
            <pc:docMk/>
            <pc:sldMk cId="310162410" sldId="2147478199"/>
            <ac:picMk id="10" creationId="{35DE02D2-3726-B7CD-135E-265A9D851A61}"/>
          </ac:picMkLst>
        </pc:picChg>
      </pc:sldChg>
      <pc:sldChg chg="addSp delSp modSp add del mod">
        <pc:chgData name="Gipple, Leslie" userId="ab82f2fb-67c5-4a31-a884-d362a77bdd35" providerId="ADAL" clId="{7D29207B-1621-4BB5-8483-3FFD2F63383D}" dt="2025-11-10T23:20:46.475" v="266" actId="47"/>
        <pc:sldMkLst>
          <pc:docMk/>
          <pc:sldMk cId="1235867396" sldId="2147478200"/>
        </pc:sldMkLst>
        <pc:picChg chg="del">
          <ac:chgData name="Gipple, Leslie" userId="ab82f2fb-67c5-4a31-a884-d362a77bdd35" providerId="ADAL" clId="{7D29207B-1621-4BB5-8483-3FFD2F63383D}" dt="2025-11-10T23:06:08.654" v="198" actId="478"/>
          <ac:picMkLst>
            <pc:docMk/>
            <pc:sldMk cId="1235867396" sldId="2147478200"/>
            <ac:picMk id="3" creationId="{35313761-55E5-745B-6DEC-D1A33A7DA7CE}"/>
          </ac:picMkLst>
        </pc:picChg>
        <pc:picChg chg="add mod">
          <ac:chgData name="Gipple, Leslie" userId="ab82f2fb-67c5-4a31-a884-d362a77bdd35" providerId="ADAL" clId="{7D29207B-1621-4BB5-8483-3FFD2F63383D}" dt="2025-11-10T23:07:02.449" v="201" actId="1076"/>
          <ac:picMkLst>
            <pc:docMk/>
            <pc:sldMk cId="1235867396" sldId="2147478200"/>
            <ac:picMk id="4" creationId="{8E903F2C-9467-6459-1DA4-F8F4699D53DD}"/>
          </ac:picMkLst>
        </pc:picChg>
        <pc:picChg chg="del">
          <ac:chgData name="Gipple, Leslie" userId="ab82f2fb-67c5-4a31-a884-d362a77bdd35" providerId="ADAL" clId="{7D29207B-1621-4BB5-8483-3FFD2F63383D}" dt="2025-11-10T23:06:10.802" v="199" actId="478"/>
          <ac:picMkLst>
            <pc:docMk/>
            <pc:sldMk cId="1235867396" sldId="2147478200"/>
            <ac:picMk id="9" creationId="{E12D5B22-B3A8-82D4-4FB0-FF8AD4D20FB1}"/>
          </ac:picMkLst>
        </pc:picChg>
        <pc:picChg chg="add mod modCrop">
          <ac:chgData name="Gipple, Leslie" userId="ab82f2fb-67c5-4a31-a884-d362a77bdd35" providerId="ADAL" clId="{7D29207B-1621-4BB5-8483-3FFD2F63383D}" dt="2025-11-10T23:20:40.212" v="265" actId="1076"/>
          <ac:picMkLst>
            <pc:docMk/>
            <pc:sldMk cId="1235867396" sldId="2147478200"/>
            <ac:picMk id="10" creationId="{B4D8A83D-1BF7-882F-88C9-DABDACB05E6E}"/>
          </ac:picMkLst>
        </pc:picChg>
      </pc:sldChg>
      <pc:sldChg chg="addSp delSp modSp add del mod">
        <pc:chgData name="Gipple, Leslie" userId="ab82f2fb-67c5-4a31-a884-d362a77bdd35" providerId="ADAL" clId="{7D29207B-1621-4BB5-8483-3FFD2F63383D}" dt="2025-11-10T23:20:51.101" v="267" actId="47"/>
        <pc:sldMkLst>
          <pc:docMk/>
          <pc:sldMk cId="75841137" sldId="2147478201"/>
        </pc:sldMkLst>
        <pc:picChg chg="add mod">
          <ac:chgData name="Gipple, Leslie" userId="ab82f2fb-67c5-4a31-a884-d362a77bdd35" providerId="ADAL" clId="{7D29207B-1621-4BB5-8483-3FFD2F63383D}" dt="2025-11-10T23:09:50.830" v="212" actId="1076"/>
          <ac:picMkLst>
            <pc:docMk/>
            <pc:sldMk cId="75841137" sldId="2147478201"/>
            <ac:picMk id="3" creationId="{63F37E01-9C56-2358-6D74-24902204F736}"/>
          </ac:picMkLst>
        </pc:picChg>
        <pc:picChg chg="del">
          <ac:chgData name="Gipple, Leslie" userId="ab82f2fb-67c5-4a31-a884-d362a77bdd35" providerId="ADAL" clId="{7D29207B-1621-4BB5-8483-3FFD2F63383D}" dt="2025-11-10T23:07:55.212" v="206" actId="478"/>
          <ac:picMkLst>
            <pc:docMk/>
            <pc:sldMk cId="75841137" sldId="2147478201"/>
            <ac:picMk id="4" creationId="{ED69F310-98A2-72AE-D988-B43EF0885771}"/>
          </ac:picMkLst>
        </pc:picChg>
        <pc:picChg chg="add mod">
          <ac:chgData name="Gipple, Leslie" userId="ab82f2fb-67c5-4a31-a884-d362a77bdd35" providerId="ADAL" clId="{7D29207B-1621-4BB5-8483-3FFD2F63383D}" dt="2025-11-10T23:10:19.493" v="215" actId="1076"/>
          <ac:picMkLst>
            <pc:docMk/>
            <pc:sldMk cId="75841137" sldId="2147478201"/>
            <ac:picMk id="9" creationId="{CBEC0799-7AB3-E82A-4821-C7201B858521}"/>
          </ac:picMkLst>
        </pc:picChg>
        <pc:picChg chg="del">
          <ac:chgData name="Gipple, Leslie" userId="ab82f2fb-67c5-4a31-a884-d362a77bdd35" providerId="ADAL" clId="{7D29207B-1621-4BB5-8483-3FFD2F63383D}" dt="2025-11-10T23:07:57.601" v="207" actId="478"/>
          <ac:picMkLst>
            <pc:docMk/>
            <pc:sldMk cId="75841137" sldId="2147478201"/>
            <ac:picMk id="10" creationId="{21C02FAA-ADAB-7B41-621F-865BA698D42C}"/>
          </ac:picMkLst>
        </pc:picChg>
      </pc:sldChg>
      <pc:sldChg chg="modSp add mod ord">
        <pc:chgData name="Gipple, Leslie" userId="ab82f2fb-67c5-4a31-a884-d362a77bdd35" providerId="ADAL" clId="{7D29207B-1621-4BB5-8483-3FFD2F63383D}" dt="2025-11-10T23:10:39.452" v="233" actId="20577"/>
        <pc:sldMkLst>
          <pc:docMk/>
          <pc:sldMk cId="988967917" sldId="2147478202"/>
        </pc:sldMkLst>
        <pc:spChg chg="mod">
          <ac:chgData name="Gipple, Leslie" userId="ab82f2fb-67c5-4a31-a884-d362a77bdd35" providerId="ADAL" clId="{7D29207B-1621-4BB5-8483-3FFD2F63383D}" dt="2025-11-10T23:10:39.452" v="233" actId="20577"/>
          <ac:spMkLst>
            <pc:docMk/>
            <pc:sldMk cId="988967917" sldId="2147478202"/>
            <ac:spMk id="2" creationId="{54A0DA18-B60C-165E-A0AB-F45DFFC24BCD}"/>
          </ac:spMkLst>
        </pc:spChg>
      </pc:sldChg>
      <pc:sldChg chg="addSp delSp modSp add mod ord">
        <pc:chgData name="Gipple, Leslie" userId="ab82f2fb-67c5-4a31-a884-d362a77bdd35" providerId="ADAL" clId="{7D29207B-1621-4BB5-8483-3FFD2F63383D}" dt="2025-11-10T23:27:34.722" v="332" actId="14100"/>
        <pc:sldMkLst>
          <pc:docMk/>
          <pc:sldMk cId="3991209953" sldId="2147478203"/>
        </pc:sldMkLst>
        <pc:spChg chg="del">
          <ac:chgData name="Gipple, Leslie" userId="ab82f2fb-67c5-4a31-a884-d362a77bdd35" providerId="ADAL" clId="{7D29207B-1621-4BB5-8483-3FFD2F63383D}" dt="2025-11-10T23:17:02.278" v="254" actId="478"/>
          <ac:spMkLst>
            <pc:docMk/>
            <pc:sldMk cId="3991209953" sldId="2147478203"/>
            <ac:spMk id="12" creationId="{91CB45E0-DA4B-265E-379A-827E4D85E68C}"/>
          </ac:spMkLst>
        </pc:spChg>
        <pc:spChg chg="mod">
          <ac:chgData name="Gipple, Leslie" userId="ab82f2fb-67c5-4a31-a884-d362a77bdd35" providerId="ADAL" clId="{7D29207B-1621-4BB5-8483-3FFD2F63383D}" dt="2025-11-10T23:26:42.903" v="326" actId="14100"/>
          <ac:spMkLst>
            <pc:docMk/>
            <pc:sldMk cId="3991209953" sldId="2147478203"/>
            <ac:spMk id="25" creationId="{4DD3EC8E-56B3-07E9-5D69-756A661327F7}"/>
          </ac:spMkLst>
        </pc:spChg>
        <pc:picChg chg="add del mod modCrop">
          <ac:chgData name="Gipple, Leslie" userId="ab82f2fb-67c5-4a31-a884-d362a77bdd35" providerId="ADAL" clId="{7D29207B-1621-4BB5-8483-3FFD2F63383D}" dt="2025-11-10T23:23:16.603" v="275" actId="478"/>
          <ac:picMkLst>
            <pc:docMk/>
            <pc:sldMk cId="3991209953" sldId="2147478203"/>
            <ac:picMk id="3" creationId="{F9F5F04C-5C5C-3E53-ED1C-8410C7DE436C}"/>
          </ac:picMkLst>
        </pc:picChg>
        <pc:picChg chg="add del mod">
          <ac:chgData name="Gipple, Leslie" userId="ab82f2fb-67c5-4a31-a884-d362a77bdd35" providerId="ADAL" clId="{7D29207B-1621-4BB5-8483-3FFD2F63383D}" dt="2025-11-10T23:21:40.324" v="273" actId="478"/>
          <ac:picMkLst>
            <pc:docMk/>
            <pc:sldMk cId="3991209953" sldId="2147478203"/>
            <ac:picMk id="6" creationId="{9A0FE24A-76D8-D98C-BA96-6AD317BD763B}"/>
          </ac:picMkLst>
        </pc:picChg>
        <pc:picChg chg="add del mod">
          <ac:chgData name="Gipple, Leslie" userId="ab82f2fb-67c5-4a31-a884-d362a77bdd35" providerId="ADAL" clId="{7D29207B-1621-4BB5-8483-3FFD2F63383D}" dt="2025-11-10T23:26:16.199" v="321" actId="478"/>
          <ac:picMkLst>
            <pc:docMk/>
            <pc:sldMk cId="3991209953" sldId="2147478203"/>
            <ac:picMk id="10" creationId="{EC3E28DC-9F66-E7B4-AE8B-D650BB35A3E7}"/>
          </ac:picMkLst>
        </pc:picChg>
        <pc:picChg chg="del">
          <ac:chgData name="Gipple, Leslie" userId="ab82f2fb-67c5-4a31-a884-d362a77bdd35" providerId="ADAL" clId="{7D29207B-1621-4BB5-8483-3FFD2F63383D}" dt="2025-11-10T23:17:04.174" v="255" actId="478"/>
          <ac:picMkLst>
            <pc:docMk/>
            <pc:sldMk cId="3991209953" sldId="2147478203"/>
            <ac:picMk id="11" creationId="{B9AAD23A-35E9-6C3D-6FE2-08D61CB65A70}"/>
          </ac:picMkLst>
        </pc:picChg>
        <pc:picChg chg="add del mod">
          <ac:chgData name="Gipple, Leslie" userId="ab82f2fb-67c5-4a31-a884-d362a77bdd35" providerId="ADAL" clId="{7D29207B-1621-4BB5-8483-3FFD2F63383D}" dt="2025-11-10T23:26:17.886" v="323" actId="478"/>
          <ac:picMkLst>
            <pc:docMk/>
            <pc:sldMk cId="3991209953" sldId="2147478203"/>
            <ac:picMk id="14" creationId="{50EC736F-1D2C-3238-5C4B-5C768D89DF19}"/>
          </ac:picMkLst>
        </pc:picChg>
        <pc:picChg chg="add del mod">
          <ac:chgData name="Gipple, Leslie" userId="ab82f2fb-67c5-4a31-a884-d362a77bdd35" providerId="ADAL" clId="{7D29207B-1621-4BB5-8483-3FFD2F63383D}" dt="2025-11-10T23:26:17.054" v="322" actId="478"/>
          <ac:picMkLst>
            <pc:docMk/>
            <pc:sldMk cId="3991209953" sldId="2147478203"/>
            <ac:picMk id="16" creationId="{9285A1CB-A385-B789-36FB-A00E09AF1CCB}"/>
          </ac:picMkLst>
        </pc:picChg>
        <pc:picChg chg="add mod">
          <ac:chgData name="Gipple, Leslie" userId="ab82f2fb-67c5-4a31-a884-d362a77bdd35" providerId="ADAL" clId="{7D29207B-1621-4BB5-8483-3FFD2F63383D}" dt="2025-11-10T23:26:44.808" v="327" actId="1076"/>
          <ac:picMkLst>
            <pc:docMk/>
            <pc:sldMk cId="3991209953" sldId="2147478203"/>
            <ac:picMk id="18" creationId="{64CDFB83-20C3-17D0-1C15-284AFA7EB35F}"/>
          </ac:picMkLst>
        </pc:picChg>
        <pc:picChg chg="add mod">
          <ac:chgData name="Gipple, Leslie" userId="ab82f2fb-67c5-4a31-a884-d362a77bdd35" providerId="ADAL" clId="{7D29207B-1621-4BB5-8483-3FFD2F63383D}" dt="2025-11-10T23:27:34.722" v="332" actId="14100"/>
          <ac:picMkLst>
            <pc:docMk/>
            <pc:sldMk cId="3991209953" sldId="2147478203"/>
            <ac:picMk id="20" creationId="{6FD4F77D-8445-A663-905F-E06E613C545B}"/>
          </ac:picMkLst>
        </pc:picChg>
      </pc:sldChg>
      <pc:sldChg chg="modSp add mod ord">
        <pc:chgData name="Gipple, Leslie" userId="ab82f2fb-67c5-4a31-a884-d362a77bdd35" providerId="ADAL" clId="{7D29207B-1621-4BB5-8483-3FFD2F63383D}" dt="2025-11-10T23:25:57.284" v="297"/>
        <pc:sldMkLst>
          <pc:docMk/>
          <pc:sldMk cId="3165732424" sldId="2147478204"/>
        </pc:sldMkLst>
        <pc:spChg chg="mod">
          <ac:chgData name="Gipple, Leslie" userId="ab82f2fb-67c5-4a31-a884-d362a77bdd35" providerId="ADAL" clId="{7D29207B-1621-4BB5-8483-3FFD2F63383D}" dt="2025-11-10T23:25:49.192" v="295" actId="20577"/>
          <ac:spMkLst>
            <pc:docMk/>
            <pc:sldMk cId="3165732424" sldId="2147478204"/>
            <ac:spMk id="25" creationId="{4A7D1D30-6269-7BB2-FB58-854C10B57DD5}"/>
          </ac:spMkLst>
        </pc:spChg>
      </pc:sldChg>
      <pc:sldChg chg="addSp delSp modSp add mod">
        <pc:chgData name="Gipple, Leslie" userId="ab82f2fb-67c5-4a31-a884-d362a77bdd35" providerId="ADAL" clId="{7D29207B-1621-4BB5-8483-3FFD2F63383D}" dt="2025-11-10T23:30:15.475" v="341" actId="1076"/>
        <pc:sldMkLst>
          <pc:docMk/>
          <pc:sldMk cId="893122874" sldId="2147478205"/>
        </pc:sldMkLst>
        <pc:spChg chg="mod">
          <ac:chgData name="Gipple, Leslie" userId="ab82f2fb-67c5-4a31-a884-d362a77bdd35" providerId="ADAL" clId="{7D29207B-1621-4BB5-8483-3FFD2F63383D}" dt="2025-11-10T23:28:25.925" v="336" actId="20577"/>
          <ac:spMkLst>
            <pc:docMk/>
            <pc:sldMk cId="893122874" sldId="2147478205"/>
            <ac:spMk id="25" creationId="{8370EFFD-4FB9-B9B2-46A6-19DC37AF4B2C}"/>
          </ac:spMkLst>
        </pc:spChg>
        <pc:picChg chg="add mod">
          <ac:chgData name="Gipple, Leslie" userId="ab82f2fb-67c5-4a31-a884-d362a77bdd35" providerId="ADAL" clId="{7D29207B-1621-4BB5-8483-3FFD2F63383D}" dt="2025-11-10T23:28:50.595" v="338" actId="1076"/>
          <ac:picMkLst>
            <pc:docMk/>
            <pc:sldMk cId="893122874" sldId="2147478205"/>
            <ac:picMk id="3" creationId="{CF007F6E-D1F4-6D06-09C2-B8BAC9131164}"/>
          </ac:picMkLst>
        </pc:picChg>
        <pc:picChg chg="add mod">
          <ac:chgData name="Gipple, Leslie" userId="ab82f2fb-67c5-4a31-a884-d362a77bdd35" providerId="ADAL" clId="{7D29207B-1621-4BB5-8483-3FFD2F63383D}" dt="2025-11-10T23:30:15.475" v="341" actId="1076"/>
          <ac:picMkLst>
            <pc:docMk/>
            <pc:sldMk cId="893122874" sldId="2147478205"/>
            <ac:picMk id="6" creationId="{6BB70DE3-8821-6BCE-7113-9EF3E12583F3}"/>
          </ac:picMkLst>
        </pc:picChg>
        <pc:picChg chg="del">
          <ac:chgData name="Gipple, Leslie" userId="ab82f2fb-67c5-4a31-a884-d362a77bdd35" providerId="ADAL" clId="{7D29207B-1621-4BB5-8483-3FFD2F63383D}" dt="2025-11-10T23:28:21.525" v="334" actId="478"/>
          <ac:picMkLst>
            <pc:docMk/>
            <pc:sldMk cId="893122874" sldId="2147478205"/>
            <ac:picMk id="18" creationId="{AFEF4F88-3938-1F53-B457-25390F69F94A}"/>
          </ac:picMkLst>
        </pc:picChg>
        <pc:picChg chg="del">
          <ac:chgData name="Gipple, Leslie" userId="ab82f2fb-67c5-4a31-a884-d362a77bdd35" providerId="ADAL" clId="{7D29207B-1621-4BB5-8483-3FFD2F63383D}" dt="2025-11-10T23:28:22.762" v="335" actId="478"/>
          <ac:picMkLst>
            <pc:docMk/>
            <pc:sldMk cId="893122874" sldId="2147478205"/>
            <ac:picMk id="20" creationId="{4D874F9B-739A-68C7-C21E-D915A9F0B8E4}"/>
          </ac:picMkLst>
        </pc:picChg>
      </pc:sldChg>
      <pc:sldMasterChg chg="add del addSldLayout delSldLayout">
        <pc:chgData name="Gipple, Leslie" userId="ab82f2fb-67c5-4a31-a884-d362a77bdd35" providerId="ADAL" clId="{7D29207B-1621-4BB5-8483-3FFD2F63383D}" dt="2025-11-10T22:50:15.124" v="81" actId="27028"/>
        <pc:sldMasterMkLst>
          <pc:docMk/>
          <pc:sldMasterMk cId="114753208" sldId="2147483673"/>
        </pc:sldMasterMkLst>
        <pc:sldLayoutChg chg="del">
          <pc:chgData name="Gipple, Leslie" userId="ab82f2fb-67c5-4a31-a884-d362a77bdd35" providerId="ADAL" clId="{7D29207B-1621-4BB5-8483-3FFD2F63383D}" dt="2025-11-10T22:23:18.408" v="0" actId="47"/>
          <pc:sldLayoutMkLst>
            <pc:docMk/>
            <pc:sldMasterMk cId="114753208" sldId="2147483673"/>
            <pc:sldLayoutMk cId="731213431" sldId="2147483674"/>
          </pc:sldLayoutMkLst>
        </pc:sldLayoutChg>
        <pc:sldLayoutChg chg="add del">
          <pc:chgData name="Gipple, Leslie" userId="ab82f2fb-67c5-4a31-a884-d362a77bdd35" providerId="ADAL" clId="{7D29207B-1621-4BB5-8483-3FFD2F63383D}" dt="2025-11-10T22:50:15.124" v="81" actId="27028"/>
          <pc:sldLayoutMkLst>
            <pc:docMk/>
            <pc:sldMasterMk cId="114753208" sldId="2147483673"/>
            <pc:sldLayoutMk cId="2291016641" sldId="2147483675"/>
          </pc:sldLayoutMkLst>
        </pc:sldLayoutChg>
        <pc:sldLayoutChg chg="del">
          <pc:chgData name="Gipple, Leslie" userId="ab82f2fb-67c5-4a31-a884-d362a77bdd35" providerId="ADAL" clId="{7D29207B-1621-4BB5-8483-3FFD2F63383D}" dt="2025-11-10T22:23:18.408" v="0" actId="47"/>
          <pc:sldLayoutMkLst>
            <pc:docMk/>
            <pc:sldMasterMk cId="114753208" sldId="2147483673"/>
            <pc:sldLayoutMk cId="4104779066" sldId="2147483676"/>
          </pc:sldLayoutMkLst>
        </pc:sldLayoutChg>
        <pc:sldLayoutChg chg="del">
          <pc:chgData name="Gipple, Leslie" userId="ab82f2fb-67c5-4a31-a884-d362a77bdd35" providerId="ADAL" clId="{7D29207B-1621-4BB5-8483-3FFD2F63383D}" dt="2025-11-10T22:23:18.408" v="0" actId="47"/>
          <pc:sldLayoutMkLst>
            <pc:docMk/>
            <pc:sldMasterMk cId="114753208" sldId="2147483673"/>
            <pc:sldLayoutMk cId="1825266709" sldId="2147483677"/>
          </pc:sldLayoutMkLst>
        </pc:sldLayoutChg>
      </pc:sldMasterChg>
      <pc:sldMasterChg chg="delSldLayout">
        <pc:chgData name="Gipple, Leslie" userId="ab82f2fb-67c5-4a31-a884-d362a77bdd35" providerId="ADAL" clId="{7D29207B-1621-4BB5-8483-3FFD2F63383D}" dt="2025-11-10T22:23:19.105" v="1" actId="47"/>
        <pc:sldMasterMkLst>
          <pc:docMk/>
          <pc:sldMasterMk cId="3635151087" sldId="2147483718"/>
        </pc:sldMasterMkLst>
        <pc:sldLayoutChg chg="del">
          <pc:chgData name="Gipple, Leslie" userId="ab82f2fb-67c5-4a31-a884-d362a77bdd35" providerId="ADAL" clId="{7D29207B-1621-4BB5-8483-3FFD2F63383D}" dt="2025-11-10T22:23:19.105" v="1" actId="47"/>
          <pc:sldLayoutMkLst>
            <pc:docMk/>
            <pc:sldMasterMk cId="3635151087" sldId="2147483718"/>
            <pc:sldLayoutMk cId="1890393206" sldId="214748372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C46404-F35A-4C57-867C-0D2081B2420A}" type="datetimeFigureOut">
              <a:rPr lang="en-US" smtClean="0"/>
              <a:t>11/1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1F1C7D-1F4A-4D57-895C-CD5905E864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7067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image" Target="../media/image17.jpeg"/><Relationship Id="rId3" Type="http://schemas.openxmlformats.org/officeDocument/2006/relationships/image" Target="../media/image20.jpeg"/><Relationship Id="rId7" Type="http://schemas.openxmlformats.org/officeDocument/2006/relationships/image" Target="../media/image11.jpeg"/><Relationship Id="rId12" Type="http://schemas.openxmlformats.org/officeDocument/2006/relationships/image" Target="../media/image16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jpeg"/><Relationship Id="rId11" Type="http://schemas.openxmlformats.org/officeDocument/2006/relationships/image" Target="../media/image15.jpeg"/><Relationship Id="rId5" Type="http://schemas.openxmlformats.org/officeDocument/2006/relationships/image" Target="../media/image9.jpeg"/><Relationship Id="rId10" Type="http://schemas.openxmlformats.org/officeDocument/2006/relationships/image" Target="../media/image14.jpeg"/><Relationship Id="rId4" Type="http://schemas.openxmlformats.org/officeDocument/2006/relationships/image" Target="../media/image8.jpeg"/><Relationship Id="rId9" Type="http://schemas.openxmlformats.org/officeDocument/2006/relationships/image" Target="../media/image13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39.emf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image" Target="../media/image17.jpeg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12" Type="http://schemas.openxmlformats.org/officeDocument/2006/relationships/image" Target="../media/image16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0.jpeg"/><Relationship Id="rId11" Type="http://schemas.openxmlformats.org/officeDocument/2006/relationships/image" Target="../media/image15.jpeg"/><Relationship Id="rId5" Type="http://schemas.openxmlformats.org/officeDocument/2006/relationships/image" Target="../media/image9.jpeg"/><Relationship Id="rId10" Type="http://schemas.openxmlformats.org/officeDocument/2006/relationships/image" Target="../media/image14.jpeg"/><Relationship Id="rId4" Type="http://schemas.openxmlformats.org/officeDocument/2006/relationships/image" Target="../media/image8.jpeg"/><Relationship Id="rId9" Type="http://schemas.openxmlformats.org/officeDocument/2006/relationships/image" Target="../media/image13.jpeg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image" Target="../media/image17.jpeg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12" Type="http://schemas.openxmlformats.org/officeDocument/2006/relationships/image" Target="../media/image16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jpeg"/><Relationship Id="rId11" Type="http://schemas.openxmlformats.org/officeDocument/2006/relationships/image" Target="../media/image15.jpeg"/><Relationship Id="rId5" Type="http://schemas.openxmlformats.org/officeDocument/2006/relationships/image" Target="../media/image9.jpeg"/><Relationship Id="rId10" Type="http://schemas.openxmlformats.org/officeDocument/2006/relationships/image" Target="../media/image14.jpeg"/><Relationship Id="rId4" Type="http://schemas.openxmlformats.org/officeDocument/2006/relationships/image" Target="../media/image8.jpeg"/><Relationship Id="rId9" Type="http://schemas.openxmlformats.org/officeDocument/2006/relationships/image" Target="../media/image13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-Layouts_2-Column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46565AE-B975-A344-A26F-DA54B26F7769}"/>
              </a:ext>
            </a:extLst>
          </p:cNvPr>
          <p:cNvSpPr txBox="1">
            <a:spLocks/>
          </p:cNvSpPr>
          <p:nvPr userDrawn="1"/>
        </p:nvSpPr>
        <p:spPr>
          <a:xfrm>
            <a:off x="78952" y="6361009"/>
            <a:ext cx="629079" cy="489496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400" b="1" i="0" smtClean="0">
                <a:solidFill>
                  <a:schemeClr val="accent1"/>
                </a:solidFill>
                <a:latin typeface="+mj-lt"/>
                <a:ea typeface="Bebas Neue Bold" charset="0"/>
                <a:cs typeface="Bebas Neue Bold" charset="0"/>
              </a:rPr>
              <a:pPr algn="ctr"/>
              <a:t>‹#›</a:t>
            </a:fld>
            <a:endParaRPr lang="en-US" sz="1400" b="1" i="0">
              <a:solidFill>
                <a:schemeClr val="accent1"/>
              </a:solidFill>
              <a:latin typeface="+mj-lt"/>
              <a:ea typeface="Bebas Neue Bold" charset="0"/>
              <a:cs typeface="Bebas Neue Bold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D6C09F4-0977-7F4B-A73A-3E7FF13B3030}"/>
              </a:ext>
            </a:extLst>
          </p:cNvPr>
          <p:cNvGrpSpPr/>
          <p:nvPr userDrawn="1"/>
        </p:nvGrpSpPr>
        <p:grpSpPr>
          <a:xfrm>
            <a:off x="0" y="0"/>
            <a:ext cx="786983" cy="786983"/>
            <a:chOff x="0" y="0"/>
            <a:chExt cx="786983" cy="78698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4DB8871-A195-3944-A7E8-64945D56E235}"/>
                </a:ext>
              </a:extLst>
            </p:cNvPr>
            <p:cNvSpPr/>
            <p:nvPr userDrawn="1"/>
          </p:nvSpPr>
          <p:spPr>
            <a:xfrm>
              <a:off x="0" y="0"/>
              <a:ext cx="786983" cy="78698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spc="300">
                <a:latin typeface="linea-basic-10" charset="0"/>
                <a:ea typeface="linea-basic-10" charset="0"/>
                <a:cs typeface="linea-basic-10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7DB2FB8-8CAF-FE48-89E0-CCD31492743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94028" y="155747"/>
              <a:ext cx="398926" cy="47548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EE23C24-18E2-4C4A-B9CE-8F2D95D4DF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0600" y="1113959"/>
            <a:ext cx="9616440" cy="928201"/>
          </a:xfrm>
          <a:prstGeom prst="rect">
            <a:avLst/>
          </a:prstGeom>
        </p:spPr>
        <p:txBody>
          <a:bodyPr/>
          <a:lstStyle>
            <a:lvl1pPr>
              <a:defRPr sz="4800" baseline="0">
                <a:solidFill>
                  <a:schemeClr val="accent1"/>
                </a:solidFill>
                <a:latin typeface="TeleNeo Office ExtraBold" panose="020B0504040202090203" pitchFamily="34" charset="77"/>
              </a:defRPr>
            </a:lvl1pPr>
          </a:lstStyle>
          <a:p>
            <a:r>
              <a:rPr lang="en-US"/>
              <a:t>Title Highlight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F3326127-ECF9-FF47-B5E9-AD240FE840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60362" y="2535611"/>
            <a:ext cx="4067836" cy="3819524"/>
          </a:xfrm>
          <a:prstGeom prst="rect">
            <a:avLst/>
          </a:prstGeom>
        </p:spPr>
        <p:txBody>
          <a:bodyPr lIns="0"/>
          <a:lstStyle>
            <a:lvl1pPr marL="285750" indent="-285750">
              <a:buFont typeface="Arial" panose="020B0604020202020204" pitchFamily="34" charset="0"/>
              <a:buChar char="•"/>
              <a:defRPr sz="1400" b="0" i="0">
                <a:solidFill>
                  <a:schemeClr val="tx1"/>
                </a:solidFill>
                <a:latin typeface="TeleNeo Office" panose="020B0504040202090203" pitchFamily="34" charset="77"/>
              </a:defRPr>
            </a:lvl1pPr>
            <a:lvl2pPr marL="466725" indent="-173038">
              <a:buClrTx/>
              <a:buFont typeface="System Font Regular"/>
              <a:buChar char="–"/>
              <a:tabLst/>
              <a:defRPr sz="1400" b="0" i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2pPr>
            <a:lvl3pPr marL="293688" indent="-293688" algn="l">
              <a:tabLst/>
              <a:defRPr sz="1400" b="0" i="0" spc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3pPr>
            <a:lvl4pPr marL="461963" indent="-166688">
              <a:buFont typeface="System Font Regular"/>
              <a:buChar char="–"/>
              <a:tabLst/>
              <a:defRPr baseline="0">
                <a:solidFill>
                  <a:schemeClr val="tx1"/>
                </a:solidFill>
                <a:latin typeface="TeleNeo Office" panose="020B0504040202090203" pitchFamily="34" charset="77"/>
              </a:defRPr>
            </a:lvl4pPr>
            <a:lvl5pPr marL="628650" indent="-166688">
              <a:buFont typeface="System Font Regular"/>
              <a:buChar char="-"/>
              <a:tabLst/>
              <a:defRPr sz="1400" baseline="0">
                <a:solidFill>
                  <a:schemeClr val="tx1"/>
                </a:solidFill>
                <a:latin typeface="TeleNeo" panose="020B0504040202090203" pitchFamily="34" charset="0"/>
              </a:defRPr>
            </a:lvl5pPr>
            <a:lvl6pPr marL="801688" indent="-173038">
              <a:buFont typeface="System Font Regular"/>
              <a:buChar char="-"/>
              <a:tabLst/>
              <a:defRPr sz="1400" baseline="0">
                <a:latin typeface="TeleNeo Office" panose="020B0504040202090203" pitchFamily="34" charset="77"/>
              </a:defRPr>
            </a:lvl6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Kfdofksdfmdskl</a:t>
            </a:r>
            <a:endParaRPr lang="en-US"/>
          </a:p>
          <a:p>
            <a:pPr lvl="1"/>
            <a:r>
              <a:rPr lang="en-US" err="1"/>
              <a:t>Rrjewrjlwe</a:t>
            </a:r>
            <a:endParaRPr lang="en-US"/>
          </a:p>
          <a:p>
            <a:pPr lvl="1"/>
            <a:r>
              <a:rPr lang="en-US" err="1"/>
              <a:t>Ddkadl</a:t>
            </a:r>
            <a:endParaRPr lang="en-US"/>
          </a:p>
          <a:p>
            <a:pPr lvl="4"/>
            <a:r>
              <a:rPr lang="en-US" err="1"/>
              <a:t>Jddsalad</a:t>
            </a:r>
            <a:endParaRPr lang="en-US"/>
          </a:p>
          <a:p>
            <a:pPr lvl="5"/>
            <a:r>
              <a:rPr lang="en-US" err="1"/>
              <a:t>Ffifsojo</a:t>
            </a:r>
            <a:endParaRPr lang="en-US"/>
          </a:p>
          <a:p>
            <a:pPr lvl="2"/>
            <a:r>
              <a:rPr lang="en-US" err="1"/>
              <a:t>Ffjdsfklsmes</a:t>
            </a:r>
            <a:endParaRPr lang="en-US"/>
          </a:p>
          <a:p>
            <a:pPr lvl="3"/>
            <a:r>
              <a:rPr lang="en-US" err="1"/>
              <a:t>Djfdskla</a:t>
            </a:r>
            <a:endParaRPr lang="en-US"/>
          </a:p>
          <a:p>
            <a:pPr lvl="4"/>
            <a:r>
              <a:rPr lang="en-US" err="1"/>
              <a:t>Jdskla</a:t>
            </a:r>
            <a:endParaRPr lang="en-US"/>
          </a:p>
          <a:p>
            <a:pPr lvl="5"/>
            <a:r>
              <a:rPr lang="en-US" err="1"/>
              <a:t>ddjsklas</a:t>
            </a:r>
            <a:endParaRPr lang="en-US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1058B6B0-F4AB-354E-8F14-48C5819E30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90600" y="2535611"/>
            <a:ext cx="4067836" cy="3819524"/>
          </a:xfrm>
          <a:prstGeom prst="rect">
            <a:avLst/>
          </a:prstGeom>
        </p:spPr>
        <p:txBody>
          <a:bodyPr lIns="0"/>
          <a:lstStyle>
            <a:lvl1pPr marL="285750" indent="-285750">
              <a:buFont typeface="Arial" panose="020B0604020202020204" pitchFamily="34" charset="0"/>
              <a:buChar char="•"/>
              <a:defRPr sz="1400" b="0" i="0">
                <a:solidFill>
                  <a:schemeClr val="tx1"/>
                </a:solidFill>
                <a:latin typeface="TeleNeo Office" panose="020B0504040202090203" pitchFamily="34" charset="77"/>
              </a:defRPr>
            </a:lvl1pPr>
            <a:lvl2pPr marL="466725" indent="-173038">
              <a:buClrTx/>
              <a:buFont typeface="System Font Regular"/>
              <a:buChar char="–"/>
              <a:tabLst/>
              <a:defRPr sz="1400" b="0" i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2pPr>
            <a:lvl3pPr marL="293688" indent="-293688" algn="l">
              <a:tabLst/>
              <a:defRPr sz="1400" b="0" i="0" spc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3pPr>
            <a:lvl4pPr marL="461963" indent="-166688">
              <a:buFont typeface="System Font Regular"/>
              <a:buChar char="–"/>
              <a:tabLst/>
              <a:defRPr baseline="0">
                <a:solidFill>
                  <a:schemeClr val="tx1"/>
                </a:solidFill>
                <a:latin typeface="TeleNeo Office" panose="020B0504040202090203" pitchFamily="34" charset="77"/>
              </a:defRPr>
            </a:lvl4pPr>
            <a:lvl5pPr marL="628650" indent="-166688">
              <a:buFont typeface="System Font Regular"/>
              <a:buChar char="-"/>
              <a:tabLst/>
              <a:defRPr sz="1400" baseline="0">
                <a:solidFill>
                  <a:schemeClr val="tx1"/>
                </a:solidFill>
                <a:latin typeface="TeleNeo" panose="020B0504040202090203" pitchFamily="34" charset="0"/>
              </a:defRPr>
            </a:lvl5pPr>
            <a:lvl6pPr marL="801688" indent="-173038">
              <a:buFont typeface="System Font Regular"/>
              <a:buChar char="-"/>
              <a:tabLst/>
              <a:defRPr sz="1400" baseline="0">
                <a:latin typeface="TeleNeo Office" panose="020B0504040202090203" pitchFamily="34" charset="77"/>
              </a:defRPr>
            </a:lvl6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Kfdofksdfmdskl</a:t>
            </a:r>
            <a:endParaRPr lang="en-US"/>
          </a:p>
          <a:p>
            <a:pPr lvl="1"/>
            <a:r>
              <a:rPr lang="en-US" err="1"/>
              <a:t>Rrjewrjlwe</a:t>
            </a:r>
            <a:endParaRPr lang="en-US"/>
          </a:p>
          <a:p>
            <a:pPr lvl="1"/>
            <a:r>
              <a:rPr lang="en-US" err="1"/>
              <a:t>Ddkadl</a:t>
            </a:r>
            <a:endParaRPr lang="en-US"/>
          </a:p>
          <a:p>
            <a:pPr lvl="4"/>
            <a:r>
              <a:rPr lang="en-US" err="1"/>
              <a:t>Jddsalad</a:t>
            </a:r>
            <a:endParaRPr lang="en-US"/>
          </a:p>
          <a:p>
            <a:pPr lvl="5"/>
            <a:r>
              <a:rPr lang="en-US" err="1"/>
              <a:t>Ffifsojo</a:t>
            </a:r>
            <a:endParaRPr lang="en-US"/>
          </a:p>
          <a:p>
            <a:pPr lvl="2"/>
            <a:r>
              <a:rPr lang="en-US" err="1"/>
              <a:t>Ffjdsfklsmes</a:t>
            </a:r>
            <a:endParaRPr lang="en-US"/>
          </a:p>
          <a:p>
            <a:pPr lvl="3"/>
            <a:r>
              <a:rPr lang="en-US" err="1"/>
              <a:t>Djfdskla</a:t>
            </a:r>
            <a:endParaRPr lang="en-US"/>
          </a:p>
          <a:p>
            <a:pPr lvl="4"/>
            <a:r>
              <a:rPr lang="en-US" err="1"/>
              <a:t>Jdskla</a:t>
            </a:r>
            <a:endParaRPr lang="en-US"/>
          </a:p>
          <a:p>
            <a:pPr lvl="5"/>
            <a:r>
              <a:rPr lang="en-US" err="1"/>
              <a:t>ddjskla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62426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structions_Building-Your-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50D51D0-2607-FE44-905B-AF5F7E410560}"/>
              </a:ext>
            </a:extLst>
          </p:cNvPr>
          <p:cNvSpPr/>
          <p:nvPr userDrawn="1"/>
        </p:nvSpPr>
        <p:spPr>
          <a:xfrm>
            <a:off x="0" y="0"/>
            <a:ext cx="5071466" cy="6858000"/>
          </a:xfrm>
          <a:prstGeom prst="rect">
            <a:avLst/>
          </a:prstGeom>
          <a:solidFill>
            <a:schemeClr val="tx1">
              <a:alpha val="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FC297A2-7A6E-6243-85B7-CA9ADB1768B1}"/>
              </a:ext>
            </a:extLst>
          </p:cNvPr>
          <p:cNvSpPr txBox="1"/>
          <p:nvPr userDrawn="1"/>
        </p:nvSpPr>
        <p:spPr>
          <a:xfrm rot="16200000">
            <a:off x="-459364" y="5485096"/>
            <a:ext cx="173957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i="0" spc="600">
                <a:solidFill>
                  <a:schemeClr val="tx1"/>
                </a:solidFill>
                <a:latin typeface="TeleNeo Office" panose="020B0504040202090203" pitchFamily="34" charset="77"/>
                <a:ea typeface="Bebas Neue Bold" charset="0"/>
                <a:cs typeface="Bebas Neue Bold" charset="0"/>
              </a:rPr>
              <a:t>CONFIDENTIAL</a:t>
            </a:r>
          </a:p>
        </p:txBody>
      </p:sp>
      <p:pic>
        <p:nvPicPr>
          <p:cNvPr id="17" name="Picture Placeholder 2">
            <a:extLst>
              <a:ext uri="{FF2B5EF4-FFF2-40B4-BE49-F238E27FC236}">
                <a16:creationId xmlns:a16="http://schemas.microsoft.com/office/drawing/2014/main" id="{81E0AE93-2942-5C47-B227-14252A2C6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338" t="9798" r="55617" b="47604"/>
          <a:stretch/>
        </p:blipFill>
        <p:spPr>
          <a:xfrm>
            <a:off x="5071466" y="861933"/>
            <a:ext cx="6134416" cy="5141199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5022E0B0-8532-654D-9FBF-199F1E7855D1}"/>
              </a:ext>
            </a:extLst>
          </p:cNvPr>
          <p:cNvSpPr txBox="1"/>
          <p:nvPr userDrawn="1"/>
        </p:nvSpPr>
        <p:spPr>
          <a:xfrm>
            <a:off x="882038" y="1635512"/>
            <a:ext cx="4214295" cy="13081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0000"/>
              </a:lnSpc>
            </a:pPr>
            <a:r>
              <a:rPr lang="en-US" sz="4800" b="1">
                <a:solidFill>
                  <a:schemeClr val="accent1"/>
                </a:solidFill>
                <a:latin typeface="TeleNeo Office ExtraBold" panose="020B0504040202090203" pitchFamily="34" charset="77"/>
                <a:ea typeface="Bebas Neue Bold" charset="0"/>
                <a:cs typeface="Bebas Neue Bold" charset="0"/>
              </a:rPr>
              <a:t>Building Your</a:t>
            </a:r>
            <a:br>
              <a:rPr lang="en-US" sz="4800" b="1">
                <a:solidFill>
                  <a:srgbClr val="000000"/>
                </a:solidFill>
                <a:latin typeface="TeleNeo Office ExtraBold" panose="020B0504040202090203" pitchFamily="34" charset="77"/>
                <a:ea typeface="Bebas Neue Bold" charset="0"/>
                <a:cs typeface="Bebas Neue Bold" charset="0"/>
              </a:rPr>
            </a:br>
            <a:r>
              <a:rPr lang="en-US" sz="4800" b="1">
                <a:solidFill>
                  <a:schemeClr val="accent1"/>
                </a:solidFill>
                <a:latin typeface="TeleNeo Office ExtraBold" panose="020B0504040202090203" pitchFamily="34" charset="77"/>
                <a:ea typeface="Bebas Neue Bold" charset="0"/>
                <a:cs typeface="Bebas Neue Bold" charset="0"/>
              </a:rPr>
              <a:t>Presentation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D24B21F-F545-254E-BB60-E75C9A83FF54}"/>
              </a:ext>
            </a:extLst>
          </p:cNvPr>
          <p:cNvCxnSpPr>
            <a:cxnSpLocks/>
          </p:cNvCxnSpPr>
          <p:nvPr userDrawn="1"/>
        </p:nvCxnSpPr>
        <p:spPr>
          <a:xfrm>
            <a:off x="986118" y="2996022"/>
            <a:ext cx="572429" cy="0"/>
          </a:xfrm>
          <a:prstGeom prst="line">
            <a:avLst/>
          </a:prstGeom>
          <a:ln w="38100">
            <a:solidFill>
              <a:srgbClr val="E200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0F844D57-8842-1940-A767-8F8555770EFF}"/>
              </a:ext>
            </a:extLst>
          </p:cNvPr>
          <p:cNvSpPr txBox="1"/>
          <p:nvPr userDrawn="1"/>
        </p:nvSpPr>
        <p:spPr>
          <a:xfrm>
            <a:off x="986118" y="3372783"/>
            <a:ext cx="3597757" cy="2462213"/>
          </a:xfrm>
          <a:prstGeom prst="rect">
            <a:avLst/>
          </a:prstGeom>
          <a:noFill/>
        </p:spPr>
        <p:txBody>
          <a:bodyPr wrap="square" lIns="0" tIns="0" rIns="91440" bIns="0" rtlCol="0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  <a:latin typeface="TeleNeo Office" panose="020B0504040202090203" pitchFamily="34" charset="77"/>
              </a:rPr>
              <a:t>This template provides a variety of pre-made layouts that allow for, customizable presentation building.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  <a:latin typeface="TeleNeo Office" panose="020B0504040202090203" pitchFamily="34" charset="77"/>
              </a:rPr>
              <a:t>Additional slide image and layout options can be accessed through the Layout or New Slide functions located on the Home tab.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  <a:latin typeface="TeleNeo Office" panose="020B0504040202090203" pitchFamily="34" charset="77"/>
              </a:rPr>
              <a:t>This template includes timelines and graph templates that you can leverage for your presentation. You can access them through the layout tab located on the home screen. 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7FE3231-80FA-EE4E-AC25-F4B6D942900F}"/>
              </a:ext>
            </a:extLst>
          </p:cNvPr>
          <p:cNvGrpSpPr/>
          <p:nvPr userDrawn="1"/>
        </p:nvGrpSpPr>
        <p:grpSpPr>
          <a:xfrm>
            <a:off x="0" y="0"/>
            <a:ext cx="786983" cy="786983"/>
            <a:chOff x="0" y="0"/>
            <a:chExt cx="786983" cy="78698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7AFCCFD-8AAA-4149-8CC5-CA08A75C8D3B}"/>
                </a:ext>
              </a:extLst>
            </p:cNvPr>
            <p:cNvSpPr/>
            <p:nvPr userDrawn="1"/>
          </p:nvSpPr>
          <p:spPr>
            <a:xfrm>
              <a:off x="0" y="0"/>
              <a:ext cx="786983" cy="78698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spc="300">
                <a:latin typeface="linea-basic-10" charset="0"/>
                <a:ea typeface="linea-basic-10" charset="0"/>
                <a:cs typeface="linea-basic-10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E675E331-71BD-1C4B-82FD-DB4BF2B380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94028" y="155747"/>
              <a:ext cx="398926" cy="4754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5293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structions_Photography-Sel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EB4AB42A-7B42-C249-A74A-93E2C13B52CA}"/>
              </a:ext>
            </a:extLst>
          </p:cNvPr>
          <p:cNvGrpSpPr/>
          <p:nvPr userDrawn="1"/>
        </p:nvGrpSpPr>
        <p:grpSpPr>
          <a:xfrm>
            <a:off x="7115175" y="4244319"/>
            <a:ext cx="3442153" cy="1029039"/>
            <a:chOff x="7115175" y="4177084"/>
            <a:chExt cx="3442153" cy="1029039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A3F7FBB0-46CD-0F45-BCC4-08CC2A8721DB}"/>
                </a:ext>
              </a:extLst>
            </p:cNvPr>
            <p:cNvSpPr txBox="1"/>
            <p:nvPr/>
          </p:nvSpPr>
          <p:spPr>
            <a:xfrm>
              <a:off x="7115175" y="4675978"/>
              <a:ext cx="3442153" cy="530145"/>
            </a:xfrm>
            <a:prstGeom prst="rect">
              <a:avLst/>
            </a:prstGeom>
            <a:noFill/>
          </p:spPr>
          <p:txBody>
            <a:bodyPr wrap="square" lIns="0" tIns="0" rIns="91440" bIns="0" rtlCol="0">
              <a:spAutoFit/>
            </a:bodyPr>
            <a:lstStyle/>
            <a:p>
              <a:pPr lvl="0">
                <a:lnSpc>
                  <a:spcPct val="150000"/>
                </a:lnSpc>
              </a:pPr>
              <a:r>
                <a:rPr lang="en-US" sz="1200">
                  <a:solidFill>
                    <a:schemeClr val="tx2"/>
                  </a:solidFill>
                  <a:latin typeface="TeleNeo Office" panose="020B0504040202090203" pitchFamily="34" charset="77"/>
                  <a:ea typeface="Roboto Light" charset="0"/>
                  <a:cs typeface="Roboto Light" charset="0"/>
                </a:rPr>
                <a:t>That are relevant to the content being presented. </a:t>
              </a:r>
            </a:p>
            <a:p>
              <a:pPr lvl="0">
                <a:lnSpc>
                  <a:spcPct val="150000"/>
                </a:lnSpc>
              </a:pPr>
              <a:r>
                <a:rPr lang="en-US" sz="1200">
                  <a:solidFill>
                    <a:schemeClr val="tx2"/>
                  </a:solidFill>
                  <a:latin typeface="TeleNeo Office" panose="020B0504040202090203" pitchFamily="34" charset="77"/>
                  <a:ea typeface="Roboto Light" charset="0"/>
                  <a:cs typeface="Roboto Light" charset="0"/>
                </a:rPr>
                <a:t>That evoke the emotions wanting to be communicated.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E7F08B4-A704-3346-AE80-6F28807F64AF}"/>
                </a:ext>
              </a:extLst>
            </p:cNvPr>
            <p:cNvSpPr txBox="1"/>
            <p:nvPr/>
          </p:nvSpPr>
          <p:spPr>
            <a:xfrm>
              <a:off x="7115175" y="4177084"/>
              <a:ext cx="1417183" cy="300595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TeleNeo Office" panose="020B0504040202090203" pitchFamily="34" charset="77"/>
                  <a:ea typeface="Roboto" charset="0"/>
                  <a:cs typeface="Roboto" charset="0"/>
                </a:rPr>
                <a:t>SELECT IMAGES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50115612-FA9D-6C4E-BE80-0D7CFD2718D9}"/>
                </a:ext>
              </a:extLst>
            </p:cNvPr>
            <p:cNvCxnSpPr>
              <a:cxnSpLocks/>
            </p:cNvCxnSpPr>
            <p:nvPr/>
          </p:nvCxnSpPr>
          <p:spPr>
            <a:xfrm>
              <a:off x="7115175" y="4571472"/>
              <a:ext cx="343990" cy="0"/>
            </a:xfrm>
            <a:prstGeom prst="line">
              <a:avLst/>
            </a:prstGeom>
            <a:ln w="25400">
              <a:solidFill>
                <a:srgbClr val="E2007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9" name="Picture Placeholder 20" descr="A picture containing table, indoor, wall, person&#10;&#10;Description automatically generated">
            <a:extLst>
              <a:ext uri="{FF2B5EF4-FFF2-40B4-BE49-F238E27FC236}">
                <a16:creationId xmlns:a16="http://schemas.microsoft.com/office/drawing/2014/main" id="{C951626A-E48B-DD4E-A36B-9FD614FCB7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480" y="0"/>
            <a:ext cx="2044805" cy="1836295"/>
          </a:xfrm>
          <a:prstGeom prst="rect">
            <a:avLst/>
          </a:prstGeom>
        </p:spPr>
      </p:pic>
      <p:pic>
        <p:nvPicPr>
          <p:cNvPr id="30" name="Picture Placeholder 49" descr="A person and person standing in a field&#10;&#10;Description automatically generated with low confidence">
            <a:extLst>
              <a:ext uri="{FF2B5EF4-FFF2-40B4-BE49-F238E27FC236}">
                <a16:creationId xmlns:a16="http://schemas.microsoft.com/office/drawing/2014/main" id="{84FC2525-B189-484B-AABD-FA02847892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480" y="1836295"/>
            <a:ext cx="2044805" cy="1836295"/>
          </a:xfrm>
          <a:prstGeom prst="rect">
            <a:avLst/>
          </a:prstGeom>
        </p:spPr>
      </p:pic>
      <p:pic>
        <p:nvPicPr>
          <p:cNvPr id="31" name="Picture Placeholder 51" descr="A group of people posing for a photo&#10;&#10;Description automatically generated with medium confidence">
            <a:extLst>
              <a:ext uri="{FF2B5EF4-FFF2-40B4-BE49-F238E27FC236}">
                <a16:creationId xmlns:a16="http://schemas.microsoft.com/office/drawing/2014/main" id="{98F10410-ADD0-C24F-8339-619201F7E8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14326" y="1836295"/>
            <a:ext cx="2044805" cy="1836295"/>
          </a:xfrm>
          <a:prstGeom prst="rect">
            <a:avLst/>
          </a:prstGeom>
        </p:spPr>
      </p:pic>
      <p:pic>
        <p:nvPicPr>
          <p:cNvPr id="32" name="Picture Placeholder 24" descr="A picture containing person, indoor, computer&#10;&#10;Description automatically generated">
            <a:extLst>
              <a:ext uri="{FF2B5EF4-FFF2-40B4-BE49-F238E27FC236}">
                <a16:creationId xmlns:a16="http://schemas.microsoft.com/office/drawing/2014/main" id="{FE9C775A-FEDD-E04F-B1EA-F9382C363A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9131" y="0"/>
            <a:ext cx="2044805" cy="1836295"/>
          </a:xfrm>
          <a:prstGeom prst="rect">
            <a:avLst/>
          </a:prstGeom>
        </p:spPr>
      </p:pic>
      <p:pic>
        <p:nvPicPr>
          <p:cNvPr id="33" name="Picture Placeholder 53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308205BE-55E1-A049-99DB-F9C084695D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9131" y="1836295"/>
            <a:ext cx="2044805" cy="1836295"/>
          </a:xfrm>
          <a:prstGeom prst="rect">
            <a:avLst/>
          </a:prstGeom>
        </p:spPr>
      </p:pic>
      <p:pic>
        <p:nvPicPr>
          <p:cNvPr id="34" name="Picture Placeholder 5" descr="A group of people posing for a photo&#10;&#10;Description automatically generated with medium confidence">
            <a:extLst>
              <a:ext uri="{FF2B5EF4-FFF2-40B4-BE49-F238E27FC236}">
                <a16:creationId xmlns:a16="http://schemas.microsoft.com/office/drawing/2014/main" id="{B0589B7A-9FD9-C246-A756-3D4BE7B1A0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3936" y="0"/>
            <a:ext cx="2044805" cy="1836295"/>
          </a:xfrm>
          <a:prstGeom prst="rect">
            <a:avLst/>
          </a:prstGeom>
        </p:spPr>
      </p:pic>
      <p:pic>
        <p:nvPicPr>
          <p:cNvPr id="35" name="Picture Placeholder 55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DC9FD52E-DFAF-E04C-A8FA-14538367C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3936" y="1836295"/>
            <a:ext cx="2044805" cy="1836295"/>
          </a:xfrm>
          <a:prstGeom prst="rect">
            <a:avLst/>
          </a:prstGeom>
        </p:spPr>
      </p:pic>
      <p:pic>
        <p:nvPicPr>
          <p:cNvPr id="36" name="Picture Placeholder 28">
            <a:extLst>
              <a:ext uri="{FF2B5EF4-FFF2-40B4-BE49-F238E27FC236}">
                <a16:creationId xmlns:a16="http://schemas.microsoft.com/office/drawing/2014/main" id="{3380529D-D726-2647-8BFD-9B4AE59EAE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8740" y="0"/>
            <a:ext cx="2044805" cy="1836295"/>
          </a:xfrm>
          <a:prstGeom prst="rect">
            <a:avLst/>
          </a:prstGeom>
        </p:spPr>
      </p:pic>
      <p:pic>
        <p:nvPicPr>
          <p:cNvPr id="37" name="Picture Placeholder 47" descr="A group of women sitting on a bench&#10;&#10;Description automatically generated with medium confidence">
            <a:extLst>
              <a:ext uri="{FF2B5EF4-FFF2-40B4-BE49-F238E27FC236}">
                <a16:creationId xmlns:a16="http://schemas.microsoft.com/office/drawing/2014/main" id="{49913AFE-6012-A443-8E3E-48F3918364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93548" y="0"/>
            <a:ext cx="2044805" cy="1836295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F1182230-B92A-9445-92B5-726DE8EFEDEE}"/>
              </a:ext>
            </a:extLst>
          </p:cNvPr>
          <p:cNvSpPr txBox="1"/>
          <p:nvPr userDrawn="1"/>
        </p:nvSpPr>
        <p:spPr>
          <a:xfrm>
            <a:off x="985243" y="4177084"/>
            <a:ext cx="3353354" cy="717248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lvl="0">
              <a:lnSpc>
                <a:spcPct val="80000"/>
              </a:lnSpc>
            </a:pPr>
            <a:r>
              <a:rPr lang="en-US" sz="4800" b="1">
                <a:solidFill>
                  <a:schemeClr val="accent1"/>
                </a:solidFill>
                <a:latin typeface="TeleNeo Office ExtraBold" panose="020B0504040202090203" pitchFamily="34" charset="77"/>
                <a:ea typeface="Bebas Neue Bold" charset="0"/>
                <a:cs typeface="Bebas Neue Bold" charset="0"/>
              </a:rPr>
              <a:t>Photography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92759FD-3E6D-7143-8489-D72728E514E9}"/>
              </a:ext>
            </a:extLst>
          </p:cNvPr>
          <p:cNvSpPr txBox="1"/>
          <p:nvPr userDrawn="1"/>
        </p:nvSpPr>
        <p:spPr>
          <a:xfrm>
            <a:off x="985243" y="4798876"/>
            <a:ext cx="1148456" cy="248530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lvl="0">
              <a:lnSpc>
                <a:spcPct val="80000"/>
              </a:lnSpc>
            </a:pPr>
            <a:r>
              <a:rPr lang="en-US" sz="1200" b="1" spc="300">
                <a:solidFill>
                  <a:schemeClr val="tx2"/>
                </a:solidFill>
                <a:latin typeface="TeleNeo Office ExtraBold" panose="020B0504040202090203" pitchFamily="34" charset="77"/>
                <a:ea typeface="Bebas Neue Bold" charset="0"/>
                <a:cs typeface="Bebas Neue Bold" charset="0"/>
              </a:rPr>
              <a:t>SELECTION</a:t>
            </a:r>
          </a:p>
        </p:txBody>
      </p:sp>
      <p:pic>
        <p:nvPicPr>
          <p:cNvPr id="40" name="Picture Placeholder 10" descr="A picture containing outdoor, person, crowd&#10;&#10;Description automatically generated">
            <a:extLst>
              <a:ext uri="{FF2B5EF4-FFF2-40B4-BE49-F238E27FC236}">
                <a16:creationId xmlns:a16="http://schemas.microsoft.com/office/drawing/2014/main" id="{007172D6-E69C-D24A-9A79-C4967400A2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148740" y="1836295"/>
            <a:ext cx="2044805" cy="1836295"/>
          </a:xfrm>
          <a:prstGeom prst="rect">
            <a:avLst/>
          </a:prstGeom>
        </p:spPr>
      </p:pic>
      <p:pic>
        <p:nvPicPr>
          <p:cNvPr id="41" name="Picture Placeholder 6">
            <a:extLst>
              <a:ext uri="{FF2B5EF4-FFF2-40B4-BE49-F238E27FC236}">
                <a16:creationId xmlns:a16="http://schemas.microsoft.com/office/drawing/2014/main" id="{2D3BA877-5CD5-984D-830D-4D1EEA29F3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193338" y="1836295"/>
            <a:ext cx="2044700" cy="1836738"/>
          </a:xfrm>
          <a:prstGeom prst="rect">
            <a:avLst/>
          </a:prstGeom>
        </p:spPr>
      </p:pic>
      <p:pic>
        <p:nvPicPr>
          <p:cNvPr id="42" name="Picture Placeholder 11" descr="A couple of women sitting at a table with food&#10;&#10;Description automatically generated with low confidence">
            <a:extLst>
              <a:ext uri="{FF2B5EF4-FFF2-40B4-BE49-F238E27FC236}">
                <a16:creationId xmlns:a16="http://schemas.microsoft.com/office/drawing/2014/main" id="{FF62D22F-2C0D-594C-9D78-29E9EA261A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014538" y="-443"/>
            <a:ext cx="2044700" cy="1836738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62567C2C-1B46-4B44-A325-31F0AE0E23A7}"/>
              </a:ext>
            </a:extLst>
          </p:cNvPr>
          <p:cNvSpPr txBox="1"/>
          <p:nvPr userDrawn="1"/>
        </p:nvSpPr>
        <p:spPr>
          <a:xfrm rot="16200000">
            <a:off x="-459364" y="5485096"/>
            <a:ext cx="173957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i="0" spc="600">
                <a:solidFill>
                  <a:schemeClr val="tx1"/>
                </a:solidFill>
                <a:latin typeface="TeleNeo Office" panose="020B0504040202090203" pitchFamily="34" charset="77"/>
                <a:ea typeface="Bebas Neue Bold" charset="0"/>
                <a:cs typeface="Bebas Neue Bold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482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44">
          <p15:clr>
            <a:srgbClr val="FBAE40"/>
          </p15:clr>
        </p15:guide>
        <p15:guide id="2" orient="horz" pos="268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losing-Slides_Re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5CF6AA5-F82F-2442-946B-7A52C84AA2DA}"/>
              </a:ext>
            </a:extLst>
          </p:cNvPr>
          <p:cNvSpPr/>
          <p:nvPr userDrawn="1"/>
        </p:nvSpPr>
        <p:spPr>
          <a:xfrm>
            <a:off x="-1" y="0"/>
            <a:ext cx="610985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C32ED51-CDDF-BA49-B317-14DA320D8628}"/>
              </a:ext>
            </a:extLst>
          </p:cNvPr>
          <p:cNvSpPr txBox="1">
            <a:spLocks/>
          </p:cNvSpPr>
          <p:nvPr userDrawn="1"/>
        </p:nvSpPr>
        <p:spPr>
          <a:xfrm>
            <a:off x="78952" y="6361009"/>
            <a:ext cx="629079" cy="489496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400" b="1" i="0" smtClean="0">
                <a:solidFill>
                  <a:schemeClr val="bg1"/>
                </a:solidFill>
                <a:latin typeface="+mj-lt"/>
                <a:ea typeface="Bebas Neue Bold" charset="0"/>
                <a:cs typeface="Bebas Neue Bold" charset="0"/>
              </a:rPr>
              <a:pPr algn="ctr"/>
              <a:t>‹#›</a:t>
            </a:fld>
            <a:endParaRPr lang="en-US" sz="1400" b="1" i="0">
              <a:solidFill>
                <a:schemeClr val="bg1"/>
              </a:solidFill>
              <a:latin typeface="+mj-lt"/>
              <a:ea typeface="Bebas Neue Bold" charset="0"/>
              <a:cs typeface="Bebas Neue Bold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DB969BC-421C-304D-BEDB-884FFAF84582}"/>
              </a:ext>
            </a:extLst>
          </p:cNvPr>
          <p:cNvSpPr txBox="1"/>
          <p:nvPr userDrawn="1"/>
        </p:nvSpPr>
        <p:spPr>
          <a:xfrm>
            <a:off x="980559" y="1343565"/>
            <a:ext cx="1901249" cy="3231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500" b="1">
                <a:solidFill>
                  <a:schemeClr val="bg1"/>
                </a:solidFill>
                <a:latin typeface="TeleNeo Office ExtraBold" panose="020B0504040202090203" pitchFamily="34" charset="77"/>
                <a:ea typeface="Roboto" charset="0"/>
                <a:cs typeface="Roboto" charset="0"/>
              </a:rPr>
              <a:t>RESOURCES</a:t>
            </a:r>
          </a:p>
        </p:txBody>
      </p:sp>
      <p:pic>
        <p:nvPicPr>
          <p:cNvPr id="27" name="Picture Placeholder 19" descr="A group of people posing for a photo&#10;&#10;Description automatically generated with medium confidence">
            <a:extLst>
              <a:ext uri="{FF2B5EF4-FFF2-40B4-BE49-F238E27FC236}">
                <a16:creationId xmlns:a16="http://schemas.microsoft.com/office/drawing/2014/main" id="{5F6E3215-EA80-1449-A9A0-28AF20CCD3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16270" y="861933"/>
            <a:ext cx="4089612" cy="5141199"/>
          </a:xfrm>
          <a:prstGeom prst="rect">
            <a:avLst/>
          </a:prstGeom>
        </p:spPr>
      </p:pic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7E7AEB2B-B052-D64F-9019-204CAF550B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25795" y="1635419"/>
            <a:ext cx="2044680" cy="549253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lnSpc>
                <a:spcPts val="1750"/>
              </a:lnSpc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TeleNeo Office" panose="020B0504040202090203" pitchFamily="34" charset="77"/>
              </a:defRPr>
            </a:lvl1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1" name="Subtext">
            <a:extLst>
              <a:ext uri="{FF2B5EF4-FFF2-40B4-BE49-F238E27FC236}">
                <a16:creationId xmlns:a16="http://schemas.microsoft.com/office/drawing/2014/main" id="{D405D1F3-9F5F-6B45-A1D8-256F048E79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025795" y="1386889"/>
            <a:ext cx="2051725" cy="248530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lang="en-US" sz="1200" b="1" kern="1200" spc="0" dirty="0">
                <a:solidFill>
                  <a:schemeClr val="bg1"/>
                </a:solidFill>
                <a:latin typeface="TeleNeo Office ExtraBold" panose="020B0504040202090203" pitchFamily="34" charset="77"/>
                <a:ea typeface="Bebas Neue Bold" charset="0"/>
                <a:cs typeface="Bebas Neue Bold" charset="0"/>
              </a:defRPr>
            </a:lvl1pPr>
          </a:lstStyle>
          <a:p>
            <a:pPr marL="0" lvl="0" algn="l" defTabSz="914400" rtl="0" eaLnBrk="1" latinLnBrk="0" hangingPunct="1">
              <a:lnSpc>
                <a:spcPct val="80000"/>
              </a:lnSpc>
            </a:pPr>
            <a:r>
              <a:rPr lang="en-US"/>
              <a:t>TITLE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BCB0D343-B489-3443-8548-06DD3BB0DC1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25795" y="2879757"/>
            <a:ext cx="2044680" cy="549253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lnSpc>
                <a:spcPts val="1750"/>
              </a:lnSpc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TeleNeo Office" panose="020B0504040202090203" pitchFamily="34" charset="77"/>
              </a:defRPr>
            </a:lvl1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3" name="Subtext">
            <a:extLst>
              <a:ext uri="{FF2B5EF4-FFF2-40B4-BE49-F238E27FC236}">
                <a16:creationId xmlns:a16="http://schemas.microsoft.com/office/drawing/2014/main" id="{AB34ACDA-129E-754E-84EF-235F5573DE9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25795" y="2631227"/>
            <a:ext cx="2051725" cy="248530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lang="en-US" sz="1200" b="1" kern="1200" spc="0" dirty="0">
                <a:solidFill>
                  <a:schemeClr val="bg1"/>
                </a:solidFill>
                <a:latin typeface="TeleNeo Office ExtraBold" panose="020B0504040202090203" pitchFamily="34" charset="77"/>
                <a:ea typeface="Bebas Neue Bold" charset="0"/>
                <a:cs typeface="Bebas Neue Bold" charset="0"/>
              </a:defRPr>
            </a:lvl1pPr>
          </a:lstStyle>
          <a:p>
            <a:pPr marL="0" lvl="0" algn="l" defTabSz="914400" rtl="0" eaLnBrk="1" latinLnBrk="0" hangingPunct="1">
              <a:lnSpc>
                <a:spcPct val="80000"/>
              </a:lnSpc>
            </a:pPr>
            <a:r>
              <a:rPr lang="en-US"/>
              <a:t>TITLE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F4E55333-6C17-3B47-B207-76D958E4D0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25795" y="4124095"/>
            <a:ext cx="2044680" cy="549253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lnSpc>
                <a:spcPts val="1750"/>
              </a:lnSpc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TeleNeo Office" panose="020B0504040202090203" pitchFamily="34" charset="77"/>
              </a:defRPr>
            </a:lvl1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5" name="Subtext">
            <a:extLst>
              <a:ext uri="{FF2B5EF4-FFF2-40B4-BE49-F238E27FC236}">
                <a16:creationId xmlns:a16="http://schemas.microsoft.com/office/drawing/2014/main" id="{88D38BDA-100C-4742-8110-718CBD1CEDF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025795" y="3875565"/>
            <a:ext cx="2051725" cy="248530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lang="en-US" sz="1200" b="1" kern="1200" spc="0" dirty="0">
                <a:solidFill>
                  <a:schemeClr val="bg1"/>
                </a:solidFill>
                <a:latin typeface="TeleNeo Office ExtraBold" panose="020B0504040202090203" pitchFamily="34" charset="77"/>
                <a:ea typeface="Bebas Neue Bold" charset="0"/>
                <a:cs typeface="Bebas Neue Bold" charset="0"/>
              </a:defRPr>
            </a:lvl1pPr>
          </a:lstStyle>
          <a:p>
            <a:pPr marL="0" lvl="0" algn="l" defTabSz="914400" rtl="0" eaLnBrk="1" latinLnBrk="0" hangingPunct="1">
              <a:lnSpc>
                <a:spcPct val="80000"/>
              </a:lnSpc>
            </a:pPr>
            <a:r>
              <a:rPr lang="en-US"/>
              <a:t>TITLE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AEDB4BE1-5483-C646-9181-88FBF8823B5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25795" y="5363035"/>
            <a:ext cx="2044680" cy="549253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lnSpc>
                <a:spcPts val="1750"/>
              </a:lnSpc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TeleNeo Office" panose="020B0504040202090203" pitchFamily="34" charset="77"/>
              </a:defRPr>
            </a:lvl1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7" name="Subtext">
            <a:extLst>
              <a:ext uri="{FF2B5EF4-FFF2-40B4-BE49-F238E27FC236}">
                <a16:creationId xmlns:a16="http://schemas.microsoft.com/office/drawing/2014/main" id="{9CF572C8-6469-6A49-9E80-CAC533BF882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025795" y="5114505"/>
            <a:ext cx="2051725" cy="248530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lang="en-US" sz="1200" b="1" kern="1200" spc="0" dirty="0">
                <a:solidFill>
                  <a:schemeClr val="bg1"/>
                </a:solidFill>
                <a:latin typeface="TeleNeo Office ExtraBold" panose="020B0504040202090203" pitchFamily="34" charset="77"/>
                <a:ea typeface="Bebas Neue Bold" charset="0"/>
                <a:cs typeface="Bebas Neue Bold" charset="0"/>
              </a:defRPr>
            </a:lvl1pPr>
          </a:lstStyle>
          <a:p>
            <a:pPr marL="0" lvl="0" algn="l" defTabSz="914400" rtl="0" eaLnBrk="1" latinLnBrk="0" hangingPunct="1">
              <a:lnSpc>
                <a:spcPct val="80000"/>
              </a:lnSpc>
            </a:pPr>
            <a:r>
              <a:rPr lang="en-US"/>
              <a:t>TIT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1E967D0-CAB0-B644-A7C4-C5387B63FDC5}"/>
              </a:ext>
            </a:extLst>
          </p:cNvPr>
          <p:cNvGrpSpPr/>
          <p:nvPr userDrawn="1"/>
        </p:nvGrpSpPr>
        <p:grpSpPr>
          <a:xfrm>
            <a:off x="0" y="0"/>
            <a:ext cx="786983" cy="786983"/>
            <a:chOff x="0" y="0"/>
            <a:chExt cx="786983" cy="786983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2748596-26FD-AE47-AA2F-87ED13B66432}"/>
                </a:ext>
              </a:extLst>
            </p:cNvPr>
            <p:cNvSpPr/>
            <p:nvPr/>
          </p:nvSpPr>
          <p:spPr>
            <a:xfrm>
              <a:off x="0" y="0"/>
              <a:ext cx="786983" cy="7869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spc="300">
                <a:latin typeface="linea-basic-10" charset="0"/>
                <a:ea typeface="linea-basic-10" charset="0"/>
                <a:cs typeface="linea-basic-10" charset="0"/>
              </a:endParaRP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47EB6B23-8A7C-9649-AF66-D63CAA3AD0A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94028" y="155747"/>
              <a:ext cx="398926" cy="4754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8014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losing-Slides_Magenta-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27289CA-A1C3-D344-B916-42DCF6B9A28B}"/>
              </a:ext>
            </a:extLst>
          </p:cNvPr>
          <p:cNvSpPr/>
          <p:nvPr userDrawn="1"/>
        </p:nvSpPr>
        <p:spPr>
          <a:xfrm>
            <a:off x="889614" y="4587440"/>
            <a:ext cx="2313454" cy="1656800"/>
          </a:xfrm>
          <a:prstGeom prst="rect">
            <a:avLst/>
          </a:prstGeom>
        </p:spPr>
        <p:txBody>
          <a:bodyPr wrap="none" anchor="b" anchorCtr="0">
            <a:spAutoFit/>
          </a:bodyPr>
          <a:lstStyle/>
          <a:p>
            <a:pPr>
              <a:lnSpc>
                <a:spcPct val="80000"/>
              </a:lnSpc>
            </a:pPr>
            <a:r>
              <a:rPr kumimoji="0" lang="en-US" sz="6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Neo Office ExtraBold" panose="020B0504040202090203" pitchFamily="34" charset="77"/>
                <a:ea typeface="+mj-ea"/>
                <a:cs typeface="+mj-cs"/>
              </a:rPr>
              <a:t>Thank </a:t>
            </a:r>
            <a:br>
              <a:rPr kumimoji="0" lang="en-US" sz="6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Neo Office ExtraBold" panose="020B0504040202090203" pitchFamily="34" charset="77"/>
                <a:ea typeface="+mj-ea"/>
                <a:cs typeface="+mj-cs"/>
              </a:rPr>
            </a:br>
            <a:r>
              <a:rPr kumimoji="0" lang="en-US" sz="6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Neo Office ExtraBold" panose="020B0504040202090203" pitchFamily="34" charset="77"/>
                <a:ea typeface="+mj-ea"/>
                <a:cs typeface="+mj-cs"/>
              </a:rPr>
              <a:t>You</a:t>
            </a:r>
            <a:endParaRPr lang="en-US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3F2BCCC-A0F1-504D-B4CD-0CA4CED1BC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4368" y="982468"/>
            <a:ext cx="4165712" cy="4965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662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4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losing-Slides_Thank-You-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5280C5CB-615C-D84B-A98D-EB13D2803A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81855" y="5788597"/>
            <a:ext cx="3127157" cy="248530"/>
          </a:xfrm>
        </p:spPr>
        <p:txBody>
          <a:bodyPr lIns="0" tIns="45720" rIns="91440" bIns="45720">
            <a:spAutoFit/>
          </a:bodyPr>
          <a:lstStyle>
            <a:lvl1pPr marL="0" indent="0">
              <a:buNone/>
              <a:defRPr lang="en-US" sz="1200" b="1" kern="1200" spc="300" dirty="0">
                <a:solidFill>
                  <a:schemeClr val="bg1"/>
                </a:solidFill>
                <a:latin typeface="TeleNeo Office ExtraBold" panose="020B0504040202090203" pitchFamily="34" charset="77"/>
                <a:ea typeface="Bebas Neue Bold" charset="0"/>
                <a:cs typeface="Bebas Neue Bold" charset="0"/>
              </a:defRPr>
            </a:lvl1pPr>
            <a:lvl3pPr marL="914400" indent="0">
              <a:buNone/>
              <a:defRPr lang="en-US" sz="1200" b="1" kern="1200" spc="300" dirty="0">
                <a:solidFill>
                  <a:schemeClr val="bg1"/>
                </a:solidFill>
                <a:latin typeface="TeleNeo Office ExtraBold" panose="020B0504040202090203" pitchFamily="34" charset="77"/>
                <a:ea typeface="Bebas Neue Bold" charset="0"/>
                <a:cs typeface="Bebas Neue Bold" charset="0"/>
              </a:defRPr>
            </a:lvl3pPr>
          </a:lstStyle>
          <a:p>
            <a:pPr marL="0" lvl="0" algn="l" defTabSz="914400" rtl="0" eaLnBrk="1" latinLnBrk="0" hangingPunct="1">
              <a:lnSpc>
                <a:spcPct val="80000"/>
              </a:lnSpc>
            </a:pPr>
            <a:r>
              <a:rPr lang="en-US"/>
              <a:t>SUBTEX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6584D7-C05B-8540-AF48-0061C87768D8}"/>
              </a:ext>
            </a:extLst>
          </p:cNvPr>
          <p:cNvSpPr/>
          <p:nvPr userDrawn="1"/>
        </p:nvSpPr>
        <p:spPr>
          <a:xfrm>
            <a:off x="889614" y="3950755"/>
            <a:ext cx="2313454" cy="1656800"/>
          </a:xfrm>
          <a:prstGeom prst="rect">
            <a:avLst/>
          </a:prstGeom>
        </p:spPr>
        <p:txBody>
          <a:bodyPr wrap="none" anchor="b" anchorCtr="0">
            <a:spAutoFit/>
          </a:bodyPr>
          <a:lstStyle/>
          <a:p>
            <a:pPr>
              <a:lnSpc>
                <a:spcPct val="80000"/>
              </a:lnSpc>
            </a:pPr>
            <a:r>
              <a:rPr kumimoji="0" lang="en-US" sz="6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Neo Office ExtraBold" panose="020B0504040202090203" pitchFamily="34" charset="77"/>
                <a:ea typeface="+mj-ea"/>
                <a:cs typeface="+mj-cs"/>
              </a:rPr>
              <a:t>Thank </a:t>
            </a:r>
            <a:br>
              <a:rPr kumimoji="0" lang="en-US" sz="6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Neo Office ExtraBold" panose="020B0504040202090203" pitchFamily="34" charset="77"/>
                <a:ea typeface="+mj-ea"/>
                <a:cs typeface="+mj-cs"/>
              </a:rPr>
            </a:br>
            <a:r>
              <a:rPr kumimoji="0" lang="en-US" sz="6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Neo Office ExtraBold" panose="020B0504040202090203" pitchFamily="34" charset="77"/>
                <a:ea typeface="+mj-ea"/>
                <a:cs typeface="+mj-cs"/>
              </a:rPr>
              <a:t>You</a:t>
            </a:r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154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4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losing-Slides_T-Mobile-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66D0F72-9515-374B-AAA2-711DF1F03D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60800" y="2971800"/>
            <a:ext cx="4470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279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losing-Slides_T-Digit">
    <p:bg>
      <p:bgPr>
        <a:solidFill>
          <a:srgbClr val="E2007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A4507F4-583B-4342-82D4-212E15228B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01983" y="2482596"/>
            <a:ext cx="1588034" cy="1892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909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losing-Slides_Neon-Glow-T-Digit">
    <p:bg>
      <p:bgPr>
        <a:solidFill>
          <a:srgbClr val="E2007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47835455-001E-1640-91B4-C305BAA69F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</a:blip>
          <a:srcRect r="1482"/>
          <a:stretch/>
        </p:blipFill>
        <p:spPr>
          <a:xfrm>
            <a:off x="3973450" y="1274524"/>
            <a:ext cx="4245101" cy="4308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8442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DCF7D2-E526-4B58-848A-5FC9DD8280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622" y="123926"/>
            <a:ext cx="11591578" cy="480758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lang="en-US" sz="2400" b="0" i="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TeleNeo Office ExtraBold" panose="020B0A04040202090203" pitchFamily="34" charset="0"/>
                <a:ea typeface="TeleGrotesk Next Ultra" pitchFamily="2" charset="0"/>
                <a:cs typeface="TeleGrotesk Next Ultra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platzhalter 3">
            <a:extLst>
              <a:ext uri="{FF2B5EF4-FFF2-40B4-BE49-F238E27FC236}">
                <a16:creationId xmlns:a16="http://schemas.microsoft.com/office/drawing/2014/main" id="{93EA8C6F-CA14-4D3E-ADC4-31FE9B510A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5623" y="1052736"/>
            <a:ext cx="11591577" cy="52565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>
                <a:latin typeface="TeleNeo Office" panose="020B0504040202090203" pitchFamily="34" charset="0"/>
              </a:defRPr>
            </a:lvl1pPr>
            <a:lvl2pPr>
              <a:defRPr sz="1600">
                <a:latin typeface="TeleNeo Office" panose="020B0504040202090203" pitchFamily="34" charset="0"/>
              </a:defRPr>
            </a:lvl2pPr>
            <a:lvl3pPr>
              <a:defRPr sz="1600">
                <a:latin typeface="TeleNeo Office" panose="020B0504040202090203" pitchFamily="34" charset="0"/>
              </a:defRPr>
            </a:lvl3pPr>
            <a:lvl4pPr>
              <a:defRPr sz="1600">
                <a:latin typeface="TeleNeo Office" panose="020B0504040202090203" pitchFamily="34" charset="0"/>
              </a:defRPr>
            </a:lvl4pPr>
            <a:lvl5pPr>
              <a:defRPr sz="1600">
                <a:latin typeface="TeleNeo Office" panose="020B050404020209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65227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 - Body Slides -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757642D-3FF8-8446-979B-3CFD2079D2F1}"/>
              </a:ext>
            </a:extLst>
          </p:cNvPr>
          <p:cNvSpPr/>
          <p:nvPr userDrawn="1"/>
        </p:nvSpPr>
        <p:spPr>
          <a:xfrm>
            <a:off x="6076232" y="0"/>
            <a:ext cx="6115771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43840" y="1170432"/>
            <a:ext cx="5730240" cy="51816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230112" y="1170432"/>
            <a:ext cx="5730240" cy="51816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CA91A23-9D18-9E47-A959-8F06724664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61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83F8D96-C394-6A4F-AE0C-642691F638BD}"/>
              </a:ext>
            </a:extLst>
          </p:cNvPr>
          <p:cNvSpPr txBox="1">
            <a:spLocks/>
          </p:cNvSpPr>
          <p:nvPr userDrawn="1"/>
        </p:nvSpPr>
        <p:spPr>
          <a:xfrm>
            <a:off x="11538671" y="6594261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401DCFB-D2A6-EF43-B2EA-4020BB29BEA0}"/>
              </a:ext>
            </a:extLst>
          </p:cNvPr>
          <p:cNvSpPr/>
          <p:nvPr userDrawn="1"/>
        </p:nvSpPr>
        <p:spPr>
          <a:xfrm>
            <a:off x="11395605" y="6672077"/>
            <a:ext cx="85195" cy="8519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56C6115-C482-EC4D-ADF3-4FCEC7BFA4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42" y="195074"/>
            <a:ext cx="5569132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omparisons</a:t>
            </a:r>
          </a:p>
        </p:txBody>
      </p:sp>
    </p:spTree>
    <p:extLst>
      <p:ext uri="{BB962C8B-B14F-4D97-AF65-F5344CB8AC3E}">
        <p14:creationId xmlns:p14="http://schemas.microsoft.com/office/powerpoint/2010/main" val="9919819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-Layouts_2-Column-Magent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ction Divider">
            <a:extLst>
              <a:ext uri="{FF2B5EF4-FFF2-40B4-BE49-F238E27FC236}">
                <a16:creationId xmlns:a16="http://schemas.microsoft.com/office/drawing/2014/main" id="{1292A5B7-F392-A34A-96F9-A0251BC247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2638" y="1124119"/>
            <a:ext cx="8178800" cy="94775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lang="en-US" sz="4800" b="1" kern="1200" baseline="0" dirty="0">
                <a:solidFill>
                  <a:schemeClr val="bg1"/>
                </a:solidFill>
                <a:latin typeface="TeleNeo Office ExtraBold" panose="020B0504040202090203" pitchFamily="34" charset="77"/>
                <a:ea typeface="Roboto Light" charset="0"/>
                <a:cs typeface="Roboto Light" charset="0"/>
              </a:defRPr>
            </a:lvl1pPr>
            <a:lvl2pPr marL="457200" indent="0">
              <a:buNone/>
              <a:defRPr/>
            </a:lvl2pPr>
          </a:lstStyle>
          <a:p>
            <a:pPr marL="0" lvl="0" algn="l" defTabSz="914400" rtl="0" eaLnBrk="1" latinLnBrk="0" hangingPunct="1">
              <a:lnSpc>
                <a:spcPct val="80000"/>
              </a:lnSpc>
            </a:pPr>
            <a:r>
              <a:rPr lang="en-US"/>
              <a:t>Title Highligh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C31BE3F-80BB-DE49-9F4E-3054F0C7C104}"/>
              </a:ext>
            </a:extLst>
          </p:cNvPr>
          <p:cNvSpPr txBox="1">
            <a:spLocks/>
          </p:cNvSpPr>
          <p:nvPr userDrawn="1"/>
        </p:nvSpPr>
        <p:spPr>
          <a:xfrm>
            <a:off x="78952" y="6361009"/>
            <a:ext cx="629079" cy="489496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400" b="1" i="0" smtClean="0">
                <a:solidFill>
                  <a:schemeClr val="bg1"/>
                </a:solidFill>
                <a:latin typeface="+mj-lt"/>
                <a:ea typeface="Bebas Neue Bold" charset="0"/>
                <a:cs typeface="Bebas Neue Bold" charset="0"/>
              </a:rPr>
              <a:pPr algn="ctr"/>
              <a:t>‹#›</a:t>
            </a:fld>
            <a:endParaRPr lang="en-US" sz="1400" b="1" i="0">
              <a:solidFill>
                <a:schemeClr val="bg1"/>
              </a:solidFill>
              <a:latin typeface="+mj-lt"/>
              <a:ea typeface="Bebas Neue Bold" charset="0"/>
              <a:cs typeface="Bebas Neue Bold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B7AC9E1-5393-6548-A60B-9058B65340F4}"/>
              </a:ext>
            </a:extLst>
          </p:cNvPr>
          <p:cNvGrpSpPr/>
          <p:nvPr userDrawn="1"/>
        </p:nvGrpSpPr>
        <p:grpSpPr>
          <a:xfrm>
            <a:off x="0" y="0"/>
            <a:ext cx="786983" cy="786983"/>
            <a:chOff x="0" y="0"/>
            <a:chExt cx="786983" cy="786983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505BBE0-2049-A246-92D1-04BEBE76769B}"/>
                </a:ext>
              </a:extLst>
            </p:cNvPr>
            <p:cNvSpPr/>
            <p:nvPr/>
          </p:nvSpPr>
          <p:spPr>
            <a:xfrm>
              <a:off x="0" y="0"/>
              <a:ext cx="786983" cy="7869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spc="300">
                <a:latin typeface="linea-basic-10" charset="0"/>
                <a:ea typeface="linea-basic-10" charset="0"/>
                <a:cs typeface="linea-basic-10" charset="0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794ABAEB-019E-4144-A030-D00F2CEB3C2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94028" y="155747"/>
              <a:ext cx="398926" cy="475488"/>
            </a:xfrm>
            <a:prstGeom prst="rect">
              <a:avLst/>
            </a:prstGeom>
          </p:spPr>
        </p:pic>
      </p:grp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ECAA9D04-2264-054D-A647-CC05BB98DE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2638" y="2596571"/>
            <a:ext cx="4067836" cy="3819524"/>
          </a:xfrm>
          <a:prstGeom prst="rect">
            <a:avLst/>
          </a:prstGeom>
        </p:spPr>
        <p:txBody>
          <a:bodyPr lIns="0"/>
          <a:lstStyle>
            <a:lvl1pPr marL="285750" indent="-285750">
              <a:buFont typeface="Arial" panose="020B0604020202020204" pitchFamily="34" charset="0"/>
              <a:buChar char="•"/>
              <a:defRPr sz="1400" b="0" i="0">
                <a:solidFill>
                  <a:schemeClr val="bg1"/>
                </a:solidFill>
                <a:latin typeface="TeleNeo Office" panose="020B0504040202090203" pitchFamily="34" charset="77"/>
              </a:defRPr>
            </a:lvl1pPr>
            <a:lvl2pPr marL="466725" indent="-173038">
              <a:buClrTx/>
              <a:buFont typeface="System Font Regular"/>
              <a:buChar char="–"/>
              <a:tabLst/>
              <a:defRPr sz="1400" b="0" i="0" baseline="0">
                <a:solidFill>
                  <a:schemeClr val="bg1"/>
                </a:solidFill>
                <a:latin typeface="TeleNeo Office" panose="020B0504040202090203" pitchFamily="34" charset="77"/>
              </a:defRPr>
            </a:lvl2pPr>
            <a:lvl3pPr marL="293688" indent="-293688" algn="l">
              <a:tabLst/>
              <a:defRPr sz="1400" b="0" i="0" spc="0" baseline="0">
                <a:solidFill>
                  <a:schemeClr val="bg1"/>
                </a:solidFill>
                <a:latin typeface="TeleNeo Office" panose="020B0504040202090203" pitchFamily="34" charset="77"/>
              </a:defRPr>
            </a:lvl3pPr>
            <a:lvl4pPr marL="461963" indent="-166688">
              <a:buFont typeface="System Font Regular"/>
              <a:buChar char="–"/>
              <a:tabLst/>
              <a:defRPr baseline="0">
                <a:solidFill>
                  <a:schemeClr val="bg1"/>
                </a:solidFill>
                <a:latin typeface="TeleNeo Office" panose="020B0504040202090203" pitchFamily="34" charset="77"/>
              </a:defRPr>
            </a:lvl4pPr>
            <a:lvl5pPr marL="628650" indent="-166688">
              <a:buFont typeface="System Font Regular"/>
              <a:buChar char="-"/>
              <a:tabLst/>
              <a:defRPr sz="1400" baseline="0">
                <a:solidFill>
                  <a:schemeClr val="bg1"/>
                </a:solidFill>
                <a:latin typeface="TeleNeo" panose="020B0504040202090203" pitchFamily="34" charset="0"/>
              </a:defRPr>
            </a:lvl5pPr>
            <a:lvl6pPr marL="801688" indent="-173038">
              <a:buFont typeface="System Font Regular"/>
              <a:buChar char="-"/>
              <a:tabLst/>
              <a:defRPr sz="1400" baseline="0">
                <a:solidFill>
                  <a:schemeClr val="bg1"/>
                </a:solidFill>
                <a:latin typeface="TeleNeo Office" panose="020B0504040202090203" pitchFamily="34" charset="77"/>
              </a:defRPr>
            </a:lvl6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Kfdofksdfmdskl</a:t>
            </a:r>
            <a:endParaRPr lang="en-US"/>
          </a:p>
          <a:p>
            <a:pPr lvl="1"/>
            <a:r>
              <a:rPr lang="en-US" err="1"/>
              <a:t>Rrjewrjlwe</a:t>
            </a:r>
            <a:endParaRPr lang="en-US"/>
          </a:p>
          <a:p>
            <a:pPr lvl="1"/>
            <a:r>
              <a:rPr lang="en-US" err="1"/>
              <a:t>Ddkadl</a:t>
            </a:r>
            <a:endParaRPr lang="en-US"/>
          </a:p>
          <a:p>
            <a:pPr lvl="4"/>
            <a:r>
              <a:rPr lang="en-US" err="1"/>
              <a:t>Jddsalad</a:t>
            </a:r>
            <a:endParaRPr lang="en-US"/>
          </a:p>
          <a:p>
            <a:pPr lvl="5"/>
            <a:r>
              <a:rPr lang="en-US" err="1"/>
              <a:t>Ffifsojo</a:t>
            </a:r>
            <a:endParaRPr lang="en-US"/>
          </a:p>
          <a:p>
            <a:pPr lvl="2"/>
            <a:r>
              <a:rPr lang="en-US" err="1"/>
              <a:t>Ffjdsfklsmes</a:t>
            </a:r>
            <a:endParaRPr lang="en-US"/>
          </a:p>
          <a:p>
            <a:pPr lvl="3"/>
            <a:r>
              <a:rPr lang="en-US" err="1"/>
              <a:t>Djfdskla</a:t>
            </a:r>
            <a:endParaRPr lang="en-US"/>
          </a:p>
          <a:p>
            <a:pPr lvl="4"/>
            <a:r>
              <a:rPr lang="en-US" err="1"/>
              <a:t>Jdskla</a:t>
            </a:r>
            <a:endParaRPr lang="en-US"/>
          </a:p>
          <a:p>
            <a:pPr lvl="5"/>
            <a:r>
              <a:rPr lang="en-US" err="1"/>
              <a:t>ddjsklas</a:t>
            </a:r>
            <a:endParaRPr lang="en-US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A034122-D5EC-2D42-8722-D09A6611797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98158" y="2596571"/>
            <a:ext cx="4067836" cy="3819524"/>
          </a:xfrm>
          <a:prstGeom prst="rect">
            <a:avLst/>
          </a:prstGeom>
        </p:spPr>
        <p:txBody>
          <a:bodyPr lIns="0"/>
          <a:lstStyle>
            <a:lvl1pPr marL="285750" indent="-285750">
              <a:buFont typeface="Arial" panose="020B0604020202020204" pitchFamily="34" charset="0"/>
              <a:buChar char="•"/>
              <a:defRPr sz="1400" b="0" i="0">
                <a:solidFill>
                  <a:schemeClr val="bg1"/>
                </a:solidFill>
                <a:latin typeface="TeleNeo Office" panose="020B0504040202090203" pitchFamily="34" charset="77"/>
              </a:defRPr>
            </a:lvl1pPr>
            <a:lvl2pPr marL="466725" indent="-173038">
              <a:buClrTx/>
              <a:buFont typeface="System Font Regular"/>
              <a:buChar char="–"/>
              <a:tabLst/>
              <a:defRPr sz="1400" b="0" i="0" baseline="0">
                <a:solidFill>
                  <a:schemeClr val="bg1"/>
                </a:solidFill>
                <a:latin typeface="TeleNeo Office" panose="020B0504040202090203" pitchFamily="34" charset="77"/>
              </a:defRPr>
            </a:lvl2pPr>
            <a:lvl3pPr marL="293688" indent="-293688" algn="l">
              <a:tabLst/>
              <a:defRPr sz="1400" b="0" i="0" spc="0" baseline="0">
                <a:solidFill>
                  <a:schemeClr val="bg1"/>
                </a:solidFill>
                <a:latin typeface="TeleNeo Office" panose="020B0504040202090203" pitchFamily="34" charset="77"/>
              </a:defRPr>
            </a:lvl3pPr>
            <a:lvl4pPr marL="461963" indent="-166688">
              <a:buFont typeface="System Font Regular"/>
              <a:buChar char="–"/>
              <a:tabLst/>
              <a:defRPr baseline="0">
                <a:solidFill>
                  <a:schemeClr val="bg1"/>
                </a:solidFill>
                <a:latin typeface="TeleNeo Office" panose="020B0504040202090203" pitchFamily="34" charset="77"/>
              </a:defRPr>
            </a:lvl4pPr>
            <a:lvl5pPr marL="628650" indent="-166688">
              <a:buFont typeface="System Font Regular"/>
              <a:buChar char="-"/>
              <a:tabLst/>
              <a:defRPr sz="1400" baseline="0">
                <a:solidFill>
                  <a:schemeClr val="bg1"/>
                </a:solidFill>
                <a:latin typeface="TeleNeo" panose="020B0504040202090203" pitchFamily="34" charset="0"/>
              </a:defRPr>
            </a:lvl5pPr>
            <a:lvl6pPr marL="801688" indent="-173038">
              <a:buFont typeface="System Font Regular"/>
              <a:buChar char="-"/>
              <a:tabLst/>
              <a:defRPr sz="1400" baseline="0">
                <a:solidFill>
                  <a:schemeClr val="bg1"/>
                </a:solidFill>
                <a:latin typeface="TeleNeo Office" panose="020B0504040202090203" pitchFamily="34" charset="77"/>
              </a:defRPr>
            </a:lvl6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Kfdofksdfmdskl</a:t>
            </a:r>
            <a:endParaRPr lang="en-US"/>
          </a:p>
          <a:p>
            <a:pPr lvl="1"/>
            <a:r>
              <a:rPr lang="en-US" err="1"/>
              <a:t>Rrjewrjlwe</a:t>
            </a:r>
            <a:endParaRPr lang="en-US"/>
          </a:p>
          <a:p>
            <a:pPr lvl="1"/>
            <a:r>
              <a:rPr lang="en-US" err="1"/>
              <a:t>Ddkadl</a:t>
            </a:r>
            <a:endParaRPr lang="en-US"/>
          </a:p>
          <a:p>
            <a:pPr lvl="4"/>
            <a:r>
              <a:rPr lang="en-US" err="1"/>
              <a:t>Jddsalad</a:t>
            </a:r>
            <a:endParaRPr lang="en-US"/>
          </a:p>
          <a:p>
            <a:pPr lvl="5"/>
            <a:r>
              <a:rPr lang="en-US" err="1"/>
              <a:t>Ffifsojo</a:t>
            </a:r>
            <a:endParaRPr lang="en-US"/>
          </a:p>
          <a:p>
            <a:pPr lvl="2"/>
            <a:r>
              <a:rPr lang="en-US" err="1"/>
              <a:t>Ffjdsfklsmes</a:t>
            </a:r>
            <a:endParaRPr lang="en-US"/>
          </a:p>
          <a:p>
            <a:pPr lvl="3"/>
            <a:r>
              <a:rPr lang="en-US" err="1"/>
              <a:t>Djfdskla</a:t>
            </a:r>
            <a:endParaRPr lang="en-US"/>
          </a:p>
          <a:p>
            <a:pPr lvl="4"/>
            <a:r>
              <a:rPr lang="en-US" err="1"/>
              <a:t>Jdskla</a:t>
            </a:r>
            <a:endParaRPr lang="en-US"/>
          </a:p>
          <a:p>
            <a:pPr lvl="5"/>
            <a:r>
              <a:rPr lang="en-US" err="1"/>
              <a:t>ddjskla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44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45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 - Body Slides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3A54F2A-20B0-654E-B8CB-A11CD7D39C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699955" y="0"/>
            <a:ext cx="4492045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0E0FDD5-5672-8845-AD7B-628FA279FF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-135"/>
          <a:stretch/>
        </p:blipFill>
        <p:spPr>
          <a:xfrm>
            <a:off x="7701777" y="0"/>
            <a:ext cx="4490224" cy="6858000"/>
          </a:xfrm>
          <a:prstGeom prst="rect">
            <a:avLst/>
          </a:prstGeom>
        </p:spPr>
      </p:pic>
      <p:sp>
        <p:nvSpPr>
          <p:cNvPr id="14" name="Content Placeholder 5"/>
          <p:cNvSpPr>
            <a:spLocks noGrp="1"/>
          </p:cNvSpPr>
          <p:nvPr>
            <p:ph sz="quarter" idx="12"/>
          </p:nvPr>
        </p:nvSpPr>
        <p:spPr>
          <a:xfrm>
            <a:off x="243841" y="1170432"/>
            <a:ext cx="7212875" cy="51816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43841" y="195074"/>
            <a:ext cx="7212875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2ABD541-CCDE-6F47-B240-36BCB4C4D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61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5BC55E0-513C-6E44-82A8-E79FC96B7627}"/>
              </a:ext>
            </a:extLst>
          </p:cNvPr>
          <p:cNvSpPr txBox="1">
            <a:spLocks/>
          </p:cNvSpPr>
          <p:nvPr userDrawn="1"/>
        </p:nvSpPr>
        <p:spPr>
          <a:xfrm>
            <a:off x="11538671" y="6594261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A9CB66-CC21-0143-9FA9-21A0140D41C9}"/>
              </a:ext>
            </a:extLst>
          </p:cNvPr>
          <p:cNvSpPr/>
          <p:nvPr userDrawn="1"/>
        </p:nvSpPr>
        <p:spPr>
          <a:xfrm>
            <a:off x="11395605" y="6672077"/>
            <a:ext cx="85195" cy="8519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1174226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 - Body Slides - Image Righ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0E0FDD5-5672-8845-AD7B-628FA279FF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01777" y="0"/>
            <a:ext cx="4490224" cy="6858000"/>
          </a:xfrm>
          <a:prstGeom prst="rect">
            <a:avLst/>
          </a:prstGeom>
        </p:spPr>
      </p:pic>
      <p:sp>
        <p:nvSpPr>
          <p:cNvPr id="14" name="Content Placeholder 5"/>
          <p:cNvSpPr>
            <a:spLocks noGrp="1"/>
          </p:cNvSpPr>
          <p:nvPr>
            <p:ph sz="quarter" idx="12"/>
          </p:nvPr>
        </p:nvSpPr>
        <p:spPr>
          <a:xfrm>
            <a:off x="243841" y="1170432"/>
            <a:ext cx="7212875" cy="51816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43841" y="195074"/>
            <a:ext cx="7212875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2ABD541-CCDE-6F47-B240-36BCB4C4D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61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5BC55E0-513C-6E44-82A8-E79FC96B7627}"/>
              </a:ext>
            </a:extLst>
          </p:cNvPr>
          <p:cNvSpPr txBox="1">
            <a:spLocks/>
          </p:cNvSpPr>
          <p:nvPr userDrawn="1"/>
        </p:nvSpPr>
        <p:spPr>
          <a:xfrm>
            <a:off x="11538671" y="6594261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A9CB66-CC21-0143-9FA9-21A0140D41C9}"/>
              </a:ext>
            </a:extLst>
          </p:cNvPr>
          <p:cNvSpPr/>
          <p:nvPr userDrawn="1"/>
        </p:nvSpPr>
        <p:spPr>
          <a:xfrm>
            <a:off x="11395605" y="6672077"/>
            <a:ext cx="85195" cy="8519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9845290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 - Body Slides - Image Righ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3A54F2A-20B0-654E-B8CB-A11CD7D39C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699955" y="0"/>
            <a:ext cx="4492045" cy="6858000"/>
          </a:xfrm>
          <a:prstGeom prst="rect">
            <a:avLst/>
          </a:prstGeom>
        </p:spPr>
      </p:pic>
      <p:sp>
        <p:nvSpPr>
          <p:cNvPr id="14" name="Content Placeholder 5"/>
          <p:cNvSpPr>
            <a:spLocks noGrp="1"/>
          </p:cNvSpPr>
          <p:nvPr>
            <p:ph sz="quarter" idx="12"/>
          </p:nvPr>
        </p:nvSpPr>
        <p:spPr>
          <a:xfrm>
            <a:off x="243841" y="1170432"/>
            <a:ext cx="7212875" cy="51816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43841" y="195074"/>
            <a:ext cx="7212875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2ABD541-CCDE-6F47-B240-36BCB4C4D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61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5BC55E0-513C-6E44-82A8-E79FC96B7627}"/>
              </a:ext>
            </a:extLst>
          </p:cNvPr>
          <p:cNvSpPr txBox="1">
            <a:spLocks/>
          </p:cNvSpPr>
          <p:nvPr userDrawn="1"/>
        </p:nvSpPr>
        <p:spPr>
          <a:xfrm>
            <a:off x="11538671" y="6594261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A9CB66-CC21-0143-9FA9-21A0140D41C9}"/>
              </a:ext>
            </a:extLst>
          </p:cNvPr>
          <p:cNvSpPr/>
          <p:nvPr userDrawn="1"/>
        </p:nvSpPr>
        <p:spPr>
          <a:xfrm>
            <a:off x="11395605" y="6672077"/>
            <a:ext cx="85195" cy="8519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6450218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4 - Body Slides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A49BE1-E939-1E49-82D9-A1AFCAAA8D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25" y="3"/>
            <a:ext cx="4490223" cy="6857997"/>
          </a:xfrm>
          <a:prstGeom prst="rect">
            <a:avLst/>
          </a:prstGeom>
        </p:spPr>
      </p:pic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4886555" y="1100669"/>
            <a:ext cx="7085991" cy="5348111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2B4FC76-E995-415D-BAD3-A36618C14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6552" y="195074"/>
            <a:ext cx="7085992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443A28EC-93D6-CA41-B20A-91363806CF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61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accent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3160714-7ABE-A843-8CC4-F2601F7C3188}"/>
              </a:ext>
            </a:extLst>
          </p:cNvPr>
          <p:cNvSpPr txBox="1">
            <a:spLocks/>
          </p:cNvSpPr>
          <p:nvPr userDrawn="1"/>
        </p:nvSpPr>
        <p:spPr>
          <a:xfrm>
            <a:off x="11538671" y="6594261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accent1"/>
                </a:solidFill>
              </a:rPr>
              <a:pPr/>
              <a:t>‹#›</a:t>
            </a:fld>
            <a:endParaRPr lang="en-US" sz="1200">
              <a:solidFill>
                <a:schemeClr val="accent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7E1C330-D2FA-7F42-92D4-330AD8A3E1C0}"/>
              </a:ext>
            </a:extLst>
          </p:cNvPr>
          <p:cNvSpPr/>
          <p:nvPr userDrawn="1"/>
        </p:nvSpPr>
        <p:spPr>
          <a:xfrm>
            <a:off x="11395605" y="6672077"/>
            <a:ext cx="85195" cy="851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09FA0D1-B018-CB46-A8AC-8511AB2DAE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519" y="6445814"/>
            <a:ext cx="1561980" cy="412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5486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4 - Body Slides - Image Lef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A49BE1-E939-1E49-82D9-A1AFCAAA8D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25" y="3"/>
            <a:ext cx="4490223" cy="6857997"/>
          </a:xfrm>
          <a:prstGeom prst="rect">
            <a:avLst/>
          </a:prstGeom>
        </p:spPr>
      </p:pic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4886555" y="1100669"/>
            <a:ext cx="7085991" cy="5348111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2B4FC76-E995-415D-BAD3-A36618C14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6552" y="195074"/>
            <a:ext cx="7085992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443A28EC-93D6-CA41-B20A-91363806CF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61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accent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3160714-7ABE-A843-8CC4-F2601F7C3188}"/>
              </a:ext>
            </a:extLst>
          </p:cNvPr>
          <p:cNvSpPr txBox="1">
            <a:spLocks/>
          </p:cNvSpPr>
          <p:nvPr userDrawn="1"/>
        </p:nvSpPr>
        <p:spPr>
          <a:xfrm>
            <a:off x="11538671" y="6594261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accent1"/>
                </a:solidFill>
              </a:rPr>
              <a:pPr/>
              <a:t>‹#›</a:t>
            </a:fld>
            <a:endParaRPr lang="en-US" sz="1200">
              <a:solidFill>
                <a:schemeClr val="accent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7E1C330-D2FA-7F42-92D4-330AD8A3E1C0}"/>
              </a:ext>
            </a:extLst>
          </p:cNvPr>
          <p:cNvSpPr/>
          <p:nvPr userDrawn="1"/>
        </p:nvSpPr>
        <p:spPr>
          <a:xfrm>
            <a:off x="11395605" y="6672077"/>
            <a:ext cx="85195" cy="851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64B5DB8-9C25-1644-93B4-50A3548328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519" y="6445814"/>
            <a:ext cx="1561980" cy="412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3937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4 - Body Slides - Image Left (3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A612372-F5F3-2547-88CD-4F4DB638D7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"/>
            <a:ext cx="4481384" cy="6857997"/>
          </a:xfrm>
          <a:prstGeom prst="rect">
            <a:avLst/>
          </a:prstGeom>
        </p:spPr>
      </p:pic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4886555" y="1100669"/>
            <a:ext cx="7085991" cy="5348111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2B4FC76-E995-415D-BAD3-A36618C14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6552" y="195074"/>
            <a:ext cx="7085992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443A28EC-93D6-CA41-B20A-91363806CF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61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accent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3160714-7ABE-A843-8CC4-F2601F7C3188}"/>
              </a:ext>
            </a:extLst>
          </p:cNvPr>
          <p:cNvSpPr txBox="1">
            <a:spLocks/>
          </p:cNvSpPr>
          <p:nvPr userDrawn="1"/>
        </p:nvSpPr>
        <p:spPr>
          <a:xfrm>
            <a:off x="11538671" y="6594261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accent1"/>
                </a:solidFill>
              </a:rPr>
              <a:pPr/>
              <a:t>‹#›</a:t>
            </a:fld>
            <a:endParaRPr lang="en-US" sz="1200">
              <a:solidFill>
                <a:schemeClr val="accent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7E1C330-D2FA-7F42-92D4-330AD8A3E1C0}"/>
              </a:ext>
            </a:extLst>
          </p:cNvPr>
          <p:cNvSpPr/>
          <p:nvPr userDrawn="1"/>
        </p:nvSpPr>
        <p:spPr>
          <a:xfrm>
            <a:off x="11395605" y="6672077"/>
            <a:ext cx="85195" cy="851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EB04813-03BA-C04B-8EF9-EC274D6AEC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519" y="6445814"/>
            <a:ext cx="1561980" cy="412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57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4 - Body Slides - Image Left - Magenta Bod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A612372-F5F3-2547-88CD-4F4DB638D7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"/>
            <a:ext cx="4481384" cy="6857997"/>
          </a:xfrm>
          <a:prstGeom prst="rect">
            <a:avLst/>
          </a:prstGeom>
        </p:spPr>
      </p:pic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4886555" y="1100669"/>
            <a:ext cx="7085991" cy="5348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2B4FC76-E995-415D-BAD3-A36618C14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6552" y="195074"/>
            <a:ext cx="7085992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443A28EC-93D6-CA41-B20A-91363806CF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61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3160714-7ABE-A843-8CC4-F2601F7C3188}"/>
              </a:ext>
            </a:extLst>
          </p:cNvPr>
          <p:cNvSpPr txBox="1">
            <a:spLocks/>
          </p:cNvSpPr>
          <p:nvPr userDrawn="1"/>
        </p:nvSpPr>
        <p:spPr>
          <a:xfrm>
            <a:off x="11538671" y="6594261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7E1C330-D2FA-7F42-92D4-330AD8A3E1C0}"/>
              </a:ext>
            </a:extLst>
          </p:cNvPr>
          <p:cNvSpPr/>
          <p:nvPr userDrawn="1"/>
        </p:nvSpPr>
        <p:spPr>
          <a:xfrm>
            <a:off x="11395605" y="6672077"/>
            <a:ext cx="85195" cy="851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EB04813-03BA-C04B-8EF9-EC274D6AEC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519" y="6445814"/>
            <a:ext cx="1561980" cy="412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731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4 - Body Slides - Magent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C6C4BEC-36F3-6A45-BDDC-DC86677EA31C}"/>
              </a:ext>
            </a:extLst>
          </p:cNvPr>
          <p:cNvSpPr/>
          <p:nvPr userDrawn="1"/>
        </p:nvSpPr>
        <p:spPr>
          <a:xfrm>
            <a:off x="1" y="0"/>
            <a:ext cx="4486656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4741304" y="195074"/>
            <a:ext cx="7248177" cy="6253705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DA30B09-F19C-F14B-BB7B-9AD2FEBFDE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61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accent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554921E-F7AC-6E4A-AFCB-98E4EE4BF05D}"/>
              </a:ext>
            </a:extLst>
          </p:cNvPr>
          <p:cNvSpPr txBox="1">
            <a:spLocks/>
          </p:cNvSpPr>
          <p:nvPr userDrawn="1"/>
        </p:nvSpPr>
        <p:spPr>
          <a:xfrm>
            <a:off x="11538671" y="6594261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accent1"/>
                </a:solidFill>
              </a:rPr>
              <a:pPr/>
              <a:t>‹#›</a:t>
            </a:fld>
            <a:endParaRPr lang="en-US" sz="1200">
              <a:solidFill>
                <a:schemeClr val="accent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E26C360-A69E-7E4F-B009-5B0A209A3917}"/>
              </a:ext>
            </a:extLst>
          </p:cNvPr>
          <p:cNvSpPr/>
          <p:nvPr userDrawn="1"/>
        </p:nvSpPr>
        <p:spPr>
          <a:xfrm>
            <a:off x="11395605" y="6672077"/>
            <a:ext cx="85195" cy="851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0EEB34F-1CA2-7B43-B61E-F7095F8442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519" y="6445812"/>
            <a:ext cx="1561980" cy="412189"/>
          </a:xfrm>
          <a:prstGeom prst="rect">
            <a:avLst/>
          </a:prstGeom>
        </p:spPr>
      </p:pic>
      <p:sp>
        <p:nvSpPr>
          <p:cNvPr id="11" name="Title 3">
            <a:extLst>
              <a:ext uri="{FF2B5EF4-FFF2-40B4-BE49-F238E27FC236}">
                <a16:creationId xmlns:a16="http://schemas.microsoft.com/office/drawing/2014/main" id="{10B3A990-4667-416D-87EC-8EF0F0A2C4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920876"/>
            <a:ext cx="4486656" cy="2802099"/>
          </a:xfrm>
        </p:spPr>
        <p:txBody>
          <a:bodyPr wrap="square" lIns="73152">
            <a:spAutoFit/>
          </a:bodyPr>
          <a:lstStyle>
            <a:lvl1pPr algn="ctr">
              <a:lnSpc>
                <a:spcPct val="60000"/>
              </a:lnSpc>
              <a:defRPr sz="960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OF</a:t>
            </a:r>
            <a:br>
              <a:rPr lang="en-US"/>
            </a:br>
            <a:r>
              <a:rPr lang="en-US"/>
              <a:t>SLIDE</a:t>
            </a:r>
          </a:p>
        </p:txBody>
      </p:sp>
    </p:spTree>
    <p:extLst>
      <p:ext uri="{BB962C8B-B14F-4D97-AF65-F5344CB8AC3E}">
        <p14:creationId xmlns:p14="http://schemas.microsoft.com/office/powerpoint/2010/main" val="34830436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4 - Body Slides - Magent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6335C662-9430-294A-9935-921E7379A9D7}"/>
              </a:ext>
            </a:extLst>
          </p:cNvPr>
          <p:cNvSpPr/>
          <p:nvPr userDrawn="1"/>
        </p:nvSpPr>
        <p:spPr>
          <a:xfrm>
            <a:off x="7705344" y="0"/>
            <a:ext cx="4486656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71120" y="6534947"/>
            <a:ext cx="1046480" cy="284156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0" i="0" kern="120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rPr>
              <a:t>Slide / </a:t>
            </a:r>
            <a:fld id="{1AF40C39-5108-E841-85F7-F0B9C0D30E8D}" type="slidenum">
              <a:rPr lang="en-US" sz="1200" b="0" i="0" kern="1200" smtClean="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rPr>
              <a:pPr algn="l"/>
              <a:t>‹#›</a:t>
            </a:fld>
            <a:endParaRPr lang="en-US" sz="1200" b="0" i="0" kern="1200">
              <a:solidFill>
                <a:schemeClr val="bg1"/>
              </a:solidFill>
              <a:latin typeface="Tele-GroteskHal" pitchFamily="2" charset="0"/>
              <a:ea typeface="+mn-ea"/>
              <a:cs typeface="Tele-GroteskHal" pitchFamily="2" charset="0"/>
            </a:endParaRP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2"/>
          </p:nvPr>
        </p:nvSpPr>
        <p:spPr>
          <a:xfrm>
            <a:off x="243843" y="195073"/>
            <a:ext cx="7189893" cy="6253705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780EC6C3-4F5E-794F-920C-06C5B43587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61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0E38F94-0978-FE4F-81C1-941DA25A1BBF}"/>
              </a:ext>
            </a:extLst>
          </p:cNvPr>
          <p:cNvSpPr txBox="1">
            <a:spLocks/>
          </p:cNvSpPr>
          <p:nvPr userDrawn="1"/>
        </p:nvSpPr>
        <p:spPr>
          <a:xfrm>
            <a:off x="11538671" y="6594261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1383C4-CD6F-C04A-88C1-F317D9180415}"/>
              </a:ext>
            </a:extLst>
          </p:cNvPr>
          <p:cNvSpPr/>
          <p:nvPr userDrawn="1"/>
        </p:nvSpPr>
        <p:spPr>
          <a:xfrm>
            <a:off x="11395605" y="6672077"/>
            <a:ext cx="85195" cy="8519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CDB5CDF-697B-014A-AABA-59BE8D4D9C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519" y="6445811"/>
            <a:ext cx="1561980" cy="412188"/>
          </a:xfrm>
          <a:prstGeom prst="rect">
            <a:avLst/>
          </a:prstGeom>
        </p:spPr>
      </p:pic>
      <p:sp>
        <p:nvSpPr>
          <p:cNvPr id="17" name="Title 3">
            <a:extLst>
              <a:ext uri="{FF2B5EF4-FFF2-40B4-BE49-F238E27FC236}">
                <a16:creationId xmlns:a16="http://schemas.microsoft.com/office/drawing/2014/main" id="{F1F378BD-01CF-444B-8597-CB581FD3BE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05344" y="2027952"/>
            <a:ext cx="4486656" cy="2802099"/>
          </a:xfrm>
        </p:spPr>
        <p:txBody>
          <a:bodyPr wrap="square" lIns="73152">
            <a:spAutoFit/>
          </a:bodyPr>
          <a:lstStyle>
            <a:lvl1pPr algn="ctr">
              <a:lnSpc>
                <a:spcPct val="60000"/>
              </a:lnSpc>
              <a:defRPr sz="960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OF</a:t>
            </a:r>
            <a:br>
              <a:rPr lang="en-US"/>
            </a:br>
            <a:r>
              <a:rPr lang="en-US"/>
              <a:t>SLIDE</a:t>
            </a:r>
          </a:p>
        </p:txBody>
      </p:sp>
    </p:spTree>
    <p:extLst>
      <p:ext uri="{BB962C8B-B14F-4D97-AF65-F5344CB8AC3E}">
        <p14:creationId xmlns:p14="http://schemas.microsoft.com/office/powerpoint/2010/main" val="26733115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35375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-Layouts_2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6095999" y="3059084"/>
            <a:ext cx="5103813" cy="2944048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DC89BBE5-7688-E34A-8A2A-5CA1B36E6D95}"/>
              </a:ext>
            </a:extLst>
          </p:cNvPr>
          <p:cNvSpPr txBox="1">
            <a:spLocks/>
          </p:cNvSpPr>
          <p:nvPr userDrawn="1"/>
        </p:nvSpPr>
        <p:spPr>
          <a:xfrm>
            <a:off x="78952" y="6361009"/>
            <a:ext cx="629079" cy="489496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400" b="1" i="0" smtClean="0">
                <a:solidFill>
                  <a:schemeClr val="accent1"/>
                </a:solidFill>
                <a:latin typeface="+mj-lt"/>
                <a:ea typeface="Bebas Neue Bold" charset="0"/>
                <a:cs typeface="Bebas Neue Bold" charset="0"/>
              </a:rPr>
              <a:pPr algn="ctr"/>
              <a:t>‹#›</a:t>
            </a:fld>
            <a:endParaRPr lang="en-US" sz="1400" b="1" i="0">
              <a:solidFill>
                <a:schemeClr val="accent1"/>
              </a:solidFill>
              <a:latin typeface="+mj-lt"/>
              <a:ea typeface="Bebas Neue Bold" charset="0"/>
              <a:cs typeface="Bebas Neue Bold" charset="0"/>
            </a:endParaRP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B36E8C79-C42F-1F46-BBF9-F2497C91EC2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0600" y="3059084"/>
            <a:ext cx="5103813" cy="2944048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431537D-013D-DF47-97CC-AFDBFCA230E0}"/>
              </a:ext>
            </a:extLst>
          </p:cNvPr>
          <p:cNvCxnSpPr/>
          <p:nvPr userDrawn="1"/>
        </p:nvCxnSpPr>
        <p:spPr>
          <a:xfrm>
            <a:off x="977809" y="3040904"/>
            <a:ext cx="2041415" cy="0"/>
          </a:xfrm>
          <a:prstGeom prst="line">
            <a:avLst/>
          </a:prstGeom>
          <a:ln w="38100">
            <a:solidFill>
              <a:srgbClr val="E200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ection Divider">
            <a:extLst>
              <a:ext uri="{FF2B5EF4-FFF2-40B4-BE49-F238E27FC236}">
                <a16:creationId xmlns:a16="http://schemas.microsoft.com/office/drawing/2014/main" id="{63539A77-BB76-6F4C-A5B0-E33AE1D1D8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2638" y="1124119"/>
            <a:ext cx="8178800" cy="717248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TeleNeo Office ExtraBold" panose="020B0504040202090203" pitchFamily="34" charset="77"/>
                <a:ea typeface="Roboto Light" charset="0"/>
                <a:cs typeface="Roboto Light" charset="0"/>
              </a:defRPr>
            </a:lvl1pPr>
            <a:lvl2pPr marL="457200" indent="0">
              <a:buNone/>
              <a:defRPr/>
            </a:lvl2pPr>
          </a:lstStyle>
          <a:p>
            <a:pPr marL="0" lvl="0" algn="l" defTabSz="914400" rtl="0" eaLnBrk="1" latinLnBrk="0" hangingPunct="1">
              <a:lnSpc>
                <a:spcPct val="80000"/>
              </a:lnSpc>
            </a:pPr>
            <a:r>
              <a:rPr lang="en-US"/>
              <a:t>Title Highlight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19E6761C-B1D5-524D-B5C1-8A0F7849B4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2638" y="2156539"/>
            <a:ext cx="8155650" cy="644534"/>
          </a:xfrm>
          <a:prstGeom prst="rect">
            <a:avLst/>
          </a:prstGeom>
        </p:spPr>
        <p:txBody>
          <a:bodyPr lIns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TeleNeo Office Medium" panose="020B0504040202090203" pitchFamily="34" charset="77"/>
              </a:defRPr>
            </a:lvl1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.</a:t>
            </a:r>
          </a:p>
          <a:p>
            <a:pPr lvl="0"/>
            <a:r>
              <a:rPr lang="en-US"/>
              <a:t> 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C7F5682-541B-F34B-999B-D7EC4673422B}"/>
              </a:ext>
            </a:extLst>
          </p:cNvPr>
          <p:cNvGrpSpPr/>
          <p:nvPr userDrawn="1"/>
        </p:nvGrpSpPr>
        <p:grpSpPr>
          <a:xfrm>
            <a:off x="0" y="0"/>
            <a:ext cx="786983" cy="786983"/>
            <a:chOff x="0" y="0"/>
            <a:chExt cx="786983" cy="78698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094FE5-CED7-8340-87EB-86A29C29056A}"/>
                </a:ext>
              </a:extLst>
            </p:cNvPr>
            <p:cNvSpPr/>
            <p:nvPr userDrawn="1"/>
          </p:nvSpPr>
          <p:spPr>
            <a:xfrm>
              <a:off x="0" y="0"/>
              <a:ext cx="786983" cy="78698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spc="300">
                <a:latin typeface="linea-basic-10" charset="0"/>
                <a:ea typeface="linea-basic-10" charset="0"/>
                <a:cs typeface="linea-basic-10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A20E46B9-8533-0346-A389-D7497617FD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94028" y="155747"/>
              <a:ext cx="398926" cy="4754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123308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_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496052"/>
            <a:ext cx="12192000" cy="361949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545245" y="5420535"/>
            <a:ext cx="3860800" cy="202143"/>
          </a:xfrm>
          <a:prstGeom prst="rect">
            <a:avLst/>
          </a:prstGeom>
        </p:spPr>
        <p:txBody>
          <a:bodyPr/>
          <a:lstStyle/>
          <a:p>
            <a:r>
              <a:rPr lang="en-US"/>
              <a:t>T-Mobile Confidential</a:t>
            </a:r>
          </a:p>
        </p:txBody>
      </p:sp>
      <p:sp>
        <p:nvSpPr>
          <p:cNvPr id="17" name="Content Placeholder 5"/>
          <p:cNvSpPr>
            <a:spLocks noGrp="1"/>
          </p:cNvSpPr>
          <p:nvPr>
            <p:ph sz="quarter" idx="12"/>
          </p:nvPr>
        </p:nvSpPr>
        <p:spPr>
          <a:xfrm>
            <a:off x="243501" y="1170817"/>
            <a:ext cx="5730240" cy="5177153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0"/>
          <p:cNvSpPr>
            <a:spLocks noGrp="1"/>
          </p:cNvSpPr>
          <p:nvPr>
            <p:ph sz="quarter" idx="13"/>
          </p:nvPr>
        </p:nvSpPr>
        <p:spPr>
          <a:xfrm>
            <a:off x="6221645" y="1170436"/>
            <a:ext cx="5730240" cy="5177153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0" name="Picture 19" descr="T-Mobile Standard RO 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30324" y="6619748"/>
            <a:ext cx="780288" cy="12679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"/>
            <a:ext cx="12192000" cy="982359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43845" y="195076"/>
            <a:ext cx="9392063" cy="737297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489064" y="196587"/>
            <a:ext cx="545253" cy="284156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400" smtClean="0">
                <a:solidFill>
                  <a:schemeClr val="bg1"/>
                </a:solidFill>
                <a:latin typeface="Tele-GroteskNor" pitchFamily="2" charset="0"/>
              </a:rPr>
              <a:pPr algn="r"/>
              <a:t>‹#›</a:t>
            </a:fld>
            <a:endParaRPr lang="en-US" sz="1400">
              <a:solidFill>
                <a:schemeClr val="bg1"/>
              </a:solidFill>
              <a:latin typeface="Tele-GroteskNor" pitchFamily="2" charset="0"/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11572291" y="262470"/>
            <a:ext cx="0" cy="597359"/>
          </a:xfrm>
          <a:prstGeom prst="line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6826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243837" y="1164067"/>
            <a:ext cx="11704320" cy="51816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6496052"/>
            <a:ext cx="12192000" cy="361949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545245" y="5420535"/>
            <a:ext cx="3860800" cy="202143"/>
          </a:xfrm>
          <a:prstGeom prst="rect">
            <a:avLst/>
          </a:prstGeom>
        </p:spPr>
        <p:txBody>
          <a:bodyPr/>
          <a:lstStyle/>
          <a:p>
            <a:r>
              <a:rPr lang="en-US"/>
              <a:t>T-Mobile Confidential</a:t>
            </a:r>
          </a:p>
        </p:txBody>
      </p:sp>
      <p:pic>
        <p:nvPicPr>
          <p:cNvPr id="17" name="Picture 16" descr="T-Mobile Standard RO 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30324" y="6619748"/>
            <a:ext cx="780288" cy="12679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"/>
            <a:ext cx="12192000" cy="982359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43845" y="195076"/>
            <a:ext cx="9392063" cy="737297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1489064" y="196587"/>
            <a:ext cx="545253" cy="284156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400" smtClean="0">
                <a:solidFill>
                  <a:schemeClr val="bg1"/>
                </a:solidFill>
                <a:latin typeface="Tele-GroteskNor" pitchFamily="2" charset="0"/>
              </a:rPr>
              <a:pPr algn="r"/>
              <a:t>‹#›</a:t>
            </a:fld>
            <a:endParaRPr lang="en-US" sz="1400">
              <a:solidFill>
                <a:schemeClr val="bg1"/>
              </a:solidFill>
              <a:latin typeface="Tele-GroteskNor" pitchFamily="2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11572291" y="262470"/>
            <a:ext cx="0" cy="597359"/>
          </a:xfrm>
          <a:prstGeom prst="line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28250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Title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18347" y="3194878"/>
            <a:ext cx="10972800" cy="737297"/>
          </a:xfrm>
          <a:prstGeom prst="rect">
            <a:avLst/>
          </a:prstGeom>
        </p:spPr>
        <p:txBody>
          <a:bodyPr vert="horz" lIns="68681" tIns="34340" rIns="68681" bIns="34340" rtlCol="0" anchor="ctr">
            <a:noAutofit/>
          </a:bodyPr>
          <a:lstStyle>
            <a:lvl1pPr>
              <a:defRPr sz="4800">
                <a:solidFill>
                  <a:schemeClr val="bg1"/>
                </a:solidFill>
                <a:latin typeface="Tele-GroteskUlt" pitchFamily="2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6312" y="4003149"/>
            <a:ext cx="8510353" cy="48571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343378" rtl="0" eaLnBrk="1" latinLnBrk="0" hangingPunct="1">
              <a:spcBef>
                <a:spcPct val="0"/>
              </a:spcBef>
              <a:buNone/>
              <a:defRPr lang="en-US" sz="3200" b="0" i="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  <a:lvl2pPr marL="343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30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3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6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602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3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7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INGLE SUPPORT LIN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4165600" y="6607706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ctr" defTabSz="342871" rtl="0" eaLnBrk="1" latinLnBrk="0" hangingPunct="1">
              <a:defRPr sz="900" b="0" i="0" kern="120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T-Mobile Confidentia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D390DD3-3A79-5D2E-AD82-2B18E8498A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1075" y="6483142"/>
            <a:ext cx="1230925" cy="324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8619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0" y="6601968"/>
            <a:ext cx="12192000" cy="256032"/>
          </a:xfrm>
          <a:prstGeom prst="rect">
            <a:avLst/>
          </a:prstGeom>
          <a:solidFill>
            <a:srgbClr val="28365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 userDrawn="1"/>
        </p:nvSpPr>
        <p:spPr>
          <a:xfrm>
            <a:off x="0" y="6730797"/>
            <a:ext cx="12192000" cy="127207"/>
          </a:xfrm>
          <a:prstGeom prst="rect">
            <a:avLst/>
          </a:prstGeom>
          <a:solidFill>
            <a:srgbClr val="28365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0" y="4"/>
            <a:ext cx="12192000" cy="789433"/>
          </a:xfrm>
          <a:prstGeom prst="rect">
            <a:avLst/>
          </a:prstGeom>
        </p:spPr>
        <p:txBody>
          <a:bodyPr anchor="b"/>
          <a:lstStyle>
            <a:lvl1pPr>
              <a:defRPr sz="2000">
                <a:solidFill>
                  <a:schemeClr val="accent3">
                    <a:lumMod val="1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>
            <a:off x="0" y="789433"/>
            <a:ext cx="12192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3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7620000" y="6400800"/>
            <a:ext cx="4572000" cy="457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r">
              <a:spcBef>
                <a:spcPct val="0"/>
              </a:spcBef>
              <a:buClrTx/>
              <a:buFontTx/>
              <a:buNone/>
              <a:tabLst>
                <a:tab pos="1600120" algn="l"/>
              </a:tabLst>
              <a:defRPr/>
            </a:pPr>
            <a:endParaRPr lang="en-US" sz="1000">
              <a:solidFill>
                <a:srgbClr val="003264"/>
              </a:solidFill>
              <a:latin typeface="Lucida Sans Unicode" pitchFamily="34" charset="0"/>
            </a:endParaRPr>
          </a:p>
        </p:txBody>
      </p:sp>
      <p:sp>
        <p:nvSpPr>
          <p:cNvPr id="20" name="Rectangle 19"/>
          <p:cNvSpPr>
            <a:spLocks noChangeArrowheads="1"/>
          </p:cNvSpPr>
          <p:nvPr userDrawn="1"/>
        </p:nvSpPr>
        <p:spPr bwMode="auto">
          <a:xfrm>
            <a:off x="7620000" y="6400800"/>
            <a:ext cx="4572000" cy="457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r">
              <a:spcBef>
                <a:spcPct val="0"/>
              </a:spcBef>
              <a:buClrTx/>
              <a:buFontTx/>
              <a:buNone/>
              <a:tabLst>
                <a:tab pos="1600120" algn="l"/>
              </a:tabLst>
              <a:defRPr/>
            </a:pPr>
            <a:endParaRPr lang="en-US" sz="1000">
              <a:solidFill>
                <a:srgbClr val="003264"/>
              </a:solidFill>
              <a:latin typeface="Lucida Sans Unicode" pitchFamily="3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3" y="6581004"/>
            <a:ext cx="438910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1200" b="1">
                <a:solidFill>
                  <a:schemeClr val="bg1"/>
                </a:solidFill>
                <a:latin typeface="+mn-lt"/>
              </a:rPr>
              <a:t>CS&amp;DA | Commercial Strategy</a:t>
            </a:r>
            <a:endParaRPr lang="en-US" sz="1200" b="0" baseline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3901451" y="6581004"/>
            <a:ext cx="438910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b="0">
                <a:solidFill>
                  <a:schemeClr val="bg1"/>
                </a:solidFill>
                <a:latin typeface="+mn-lt"/>
              </a:rPr>
              <a:t>T-Mobile</a:t>
            </a:r>
            <a:r>
              <a:rPr lang="en-US" sz="1200" b="0" baseline="0">
                <a:solidFill>
                  <a:schemeClr val="bg1"/>
                </a:solidFill>
                <a:latin typeface="+mn-lt"/>
              </a:rPr>
              <a:t> Confidential 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566400" y="6581003"/>
            <a:ext cx="1422400" cy="276989"/>
          </a:xfrm>
          <a:prstGeom prst="rect">
            <a:avLst/>
          </a:prstGeom>
          <a:noFill/>
        </p:spPr>
        <p:txBody>
          <a:bodyPr wrap="square" lIns="91428" tIns="45715" rIns="91428" bIns="45715" rtlCol="0">
            <a:spAutoFit/>
          </a:bodyPr>
          <a:lstStyle/>
          <a:p>
            <a:pPr algn="r" defTabSz="914237"/>
            <a:fld id="{29B28A5D-CAB0-42FE-8E4B-7280424D68F3}" type="slidenum">
              <a:rPr lang="en-US" sz="1200" b="0" smtClean="0">
                <a:solidFill>
                  <a:schemeClr val="bg1"/>
                </a:solidFill>
                <a:latin typeface="+mn-lt"/>
              </a:rPr>
              <a:pPr algn="r" defTabSz="914237"/>
              <a:t>‹#›</a:t>
            </a:fld>
            <a:endParaRPr lang="en-US" sz="1200" b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03200" y="964692"/>
            <a:ext cx="11785600" cy="5334000"/>
          </a:xfrm>
          <a:prstGeom prst="rect">
            <a:avLst/>
          </a:prstGeom>
        </p:spPr>
        <p:txBody>
          <a:bodyPr/>
          <a:lstStyle>
            <a:lvl1pPr marL="173030" indent="-173030">
              <a:buClr>
                <a:schemeClr val="accent3">
                  <a:lumMod val="10000"/>
                </a:schemeClr>
              </a:buClr>
              <a:defRPr sz="2000">
                <a:solidFill>
                  <a:schemeClr val="accent3">
                    <a:lumMod val="10000"/>
                  </a:schemeClr>
                </a:solidFill>
              </a:defRPr>
            </a:lvl1pPr>
            <a:lvl2pPr marL="347646" indent="-174617">
              <a:buClr>
                <a:schemeClr val="tx1">
                  <a:lumMod val="75000"/>
                  <a:lumOff val="25000"/>
                </a:schemeClr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12738" indent="-165092">
              <a:buClr>
                <a:schemeClr val="tx1">
                  <a:lumMod val="65000"/>
                  <a:lumOff val="35000"/>
                </a:schemeClr>
              </a:buClr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685766" indent="-173030">
              <a:buClr>
                <a:schemeClr val="tx1">
                  <a:lumMod val="50000"/>
                  <a:lumOff val="50000"/>
                </a:schemeClr>
              </a:buClr>
              <a:buSzPct val="75000"/>
              <a:buFont typeface="Wingdings" panose="05000000000000000000" pitchFamily="2" charset="2"/>
              <a:buChar char="§"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858796" indent="-173030">
              <a:buClr>
                <a:schemeClr val="bg1">
                  <a:lumMod val="50000"/>
                </a:schemeClr>
              </a:buClr>
              <a:buSzPct val="75000"/>
              <a:buFont typeface="Wingdings" panose="05000000000000000000" pitchFamily="2" charset="2"/>
              <a:buChar char="§"/>
              <a:defRPr sz="12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24377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 - Cover - White No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584882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12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562447" y="2574713"/>
            <a:ext cx="9067111" cy="120046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lnSpc>
                <a:spcPct val="75000"/>
              </a:lnSpc>
              <a:defRPr sz="9600" b="0" i="0">
                <a:solidFill>
                  <a:schemeClr val="bg1"/>
                </a:solidFill>
                <a:latin typeface="Tele-GroteskUlt" pitchFamily="2" charset="0"/>
                <a:cs typeface="Tele-GroteskUlt" pitchFamily="2" charset="0"/>
              </a:defRPr>
            </a:lvl1pPr>
          </a:lstStyle>
          <a:p>
            <a:r>
              <a:rPr lang="en-US"/>
              <a:t>COVER SLID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6344" y="3830032"/>
            <a:ext cx="4999312" cy="7315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3733" b="0" i="0">
                <a:solidFill>
                  <a:schemeClr val="bg1"/>
                </a:solidFill>
                <a:latin typeface="+mn-lt"/>
                <a:cs typeface="Tele-GroteskFet" pitchFamily="2" charset="0"/>
              </a:defRPr>
            </a:lvl1pPr>
            <a:lvl2pPr marL="457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35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31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9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7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49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62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 &amp; DA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35CAD4-14E3-3B45-8FFE-E616A605AA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9008" y="5623468"/>
            <a:ext cx="2993984" cy="79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6064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03 - Section - No Image">
    <p:bg>
      <p:bgPr>
        <a:solidFill>
          <a:srgbClr val="E2007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52C9BC2-6F82-604D-A19E-66A6DFBD67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D3A2D6D0-B717-434D-8624-F68390C0CDDE}"/>
              </a:ext>
            </a:extLst>
          </p:cNvPr>
          <p:cNvSpPr/>
          <p:nvPr userDrawn="1"/>
        </p:nvSpPr>
        <p:spPr>
          <a:xfrm>
            <a:off x="0" y="2"/>
            <a:ext cx="12192000" cy="6858001"/>
          </a:xfrm>
          <a:prstGeom prst="rect">
            <a:avLst/>
          </a:prstGeom>
          <a:gradFill flip="none" rotWithShape="1">
            <a:gsLst>
              <a:gs pos="78000">
                <a:schemeClr val="tx2">
                  <a:alpha val="0"/>
                </a:schemeClr>
              </a:gs>
              <a:gs pos="100000">
                <a:schemeClr val="tx2">
                  <a:alpha val="48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DFE34A4-626E-414D-9490-48F1F81900B9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78000">
                <a:schemeClr val="tx2">
                  <a:alpha val="0"/>
                </a:schemeClr>
              </a:gs>
              <a:gs pos="100000">
                <a:schemeClr val="tx2">
                  <a:alpha val="48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7327" y="2170244"/>
            <a:ext cx="10972800" cy="1569795"/>
          </a:xfrm>
          <a:prstGeom prst="rect">
            <a:avLst/>
          </a:prstGeom>
        </p:spPr>
        <p:txBody>
          <a:bodyPr vert="horz" lIns="68681" tIns="34340" rIns="68681" bIns="34340" rtlCol="0" anchor="ctr">
            <a:spAutoFit/>
          </a:bodyPr>
          <a:lstStyle>
            <a:lvl1pPr algn="ctr">
              <a:defRPr sz="9600">
                <a:solidFill>
                  <a:schemeClr val="bg1"/>
                </a:solidFill>
                <a:latin typeface="Tele-GroteskUlt" pitchFamily="2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628552" y="3740037"/>
            <a:ext cx="8510353" cy="48571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 defTabSz="457847" rtl="0" eaLnBrk="1" latinLnBrk="0" hangingPunct="1">
              <a:spcBef>
                <a:spcPct val="0"/>
              </a:spcBef>
              <a:buNone/>
              <a:defRPr lang="en-US" sz="4267" b="0" i="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  <a:lvl2pPr marL="457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35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31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9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7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49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62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INGLE SUPPORT LINE</a:t>
            </a:r>
          </a:p>
        </p:txBody>
      </p:sp>
      <p:sp>
        <p:nvSpPr>
          <p:cNvPr id="10" name="Slide Number Placeholder 5" hidden="1">
            <a:extLst>
              <a:ext uri="{FF2B5EF4-FFF2-40B4-BE49-F238E27FC236}">
                <a16:creationId xmlns:a16="http://schemas.microsoft.com/office/drawing/2014/main" id="{78CB93EB-7E0E-824D-A468-D22FC2BA949B}"/>
              </a:ext>
            </a:extLst>
          </p:cNvPr>
          <p:cNvSpPr txBox="1">
            <a:spLocks/>
          </p:cNvSpPr>
          <p:nvPr userDrawn="1"/>
        </p:nvSpPr>
        <p:spPr>
          <a:xfrm>
            <a:off x="11538671" y="6594261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09647F45-9E10-5240-92C1-F2B54929A56E}"/>
              </a:ext>
            </a:extLst>
          </p:cNvPr>
          <p:cNvSpPr/>
          <p:nvPr userDrawn="1"/>
        </p:nvSpPr>
        <p:spPr>
          <a:xfrm>
            <a:off x="11395605" y="6672077"/>
            <a:ext cx="85195" cy="85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F96E3BB-2361-1443-BA5E-7C3041D01F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962" y="6414497"/>
            <a:ext cx="1403396" cy="279283"/>
          </a:xfrm>
          <a:prstGeom prst="rect">
            <a:avLst/>
          </a:prstGeom>
        </p:spPr>
      </p:pic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4E026C62-8881-9C4F-A8B6-59115CBFC6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50240" y="6594261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820006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dy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243837" y="1170432"/>
            <a:ext cx="11704320" cy="51816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3846" y="195077"/>
            <a:ext cx="11704319" cy="737297"/>
          </a:xfrm>
        </p:spPr>
        <p:txBody>
          <a:bodyPr>
            <a:noAutofit/>
          </a:bodyPr>
          <a:lstStyle>
            <a:lvl1pPr>
              <a:defRPr sz="4000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64920" y="6584885"/>
            <a:ext cx="1038577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A3D2B7D-EF97-994E-8D9B-ACCBF56FC173}"/>
              </a:ext>
            </a:extLst>
          </p:cNvPr>
          <p:cNvSpPr txBox="1">
            <a:spLocks/>
          </p:cNvSpPr>
          <p:nvPr userDrawn="1"/>
        </p:nvSpPr>
        <p:spPr>
          <a:xfrm>
            <a:off x="7501045" y="6594263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r" defTabSz="342871" rtl="0" eaLnBrk="1" latinLnBrk="0" hangingPunct="1">
              <a:defRPr sz="900" b="0" i="0" kern="1200">
                <a:solidFill>
                  <a:schemeClr val="accent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/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1160922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01 - Cov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C5E8AF2-7D33-CD4A-B808-4D38DB4032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562D77F-F103-B94C-9FE4-51D2E34BFBD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tx2">
                  <a:alpha val="0"/>
                </a:schemeClr>
              </a:gs>
              <a:gs pos="0">
                <a:schemeClr val="tx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AACC5FB-773B-A640-8759-35E5511DDB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94834" y="555356"/>
            <a:ext cx="5602337" cy="5747288"/>
          </a:xfrm>
          <a:custGeom>
            <a:avLst/>
            <a:gdLst>
              <a:gd name="connsiteX0" fmla="*/ 0 w 4348563"/>
              <a:gd name="connsiteY0" fmla="*/ 2710852 h 4310466"/>
              <a:gd name="connsiteX1" fmla="*/ 4348563 w 4348563"/>
              <a:gd name="connsiteY1" fmla="*/ 2710852 h 4310466"/>
              <a:gd name="connsiteX2" fmla="*/ 4348563 w 4348563"/>
              <a:gd name="connsiteY2" fmla="*/ 4310466 h 4310466"/>
              <a:gd name="connsiteX3" fmla="*/ 0 w 4348563"/>
              <a:gd name="connsiteY3" fmla="*/ 4310466 h 4310466"/>
              <a:gd name="connsiteX4" fmla="*/ 0 w 4348563"/>
              <a:gd name="connsiteY4" fmla="*/ 0 h 4310466"/>
              <a:gd name="connsiteX5" fmla="*/ 4348563 w 4348563"/>
              <a:gd name="connsiteY5" fmla="*/ 0 h 4310466"/>
              <a:gd name="connsiteX6" fmla="*/ 4348563 w 4348563"/>
              <a:gd name="connsiteY6" fmla="*/ 1599613 h 4310466"/>
              <a:gd name="connsiteX7" fmla="*/ 0 w 4348563"/>
              <a:gd name="connsiteY7" fmla="*/ 1599613 h 4310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348563" h="4310466">
                <a:moveTo>
                  <a:pt x="0" y="2710852"/>
                </a:moveTo>
                <a:lnTo>
                  <a:pt x="4348563" y="2710852"/>
                </a:lnTo>
                <a:lnTo>
                  <a:pt x="4348563" y="4310466"/>
                </a:lnTo>
                <a:lnTo>
                  <a:pt x="0" y="4310466"/>
                </a:lnTo>
                <a:close/>
                <a:moveTo>
                  <a:pt x="0" y="0"/>
                </a:moveTo>
                <a:lnTo>
                  <a:pt x="4348563" y="0"/>
                </a:lnTo>
                <a:lnTo>
                  <a:pt x="4348563" y="1599613"/>
                </a:lnTo>
                <a:lnTo>
                  <a:pt x="0" y="1599613"/>
                </a:lnTo>
                <a:close/>
              </a:path>
            </a:pathLst>
          </a:cu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EAAD11D-10FA-A846-8407-AB8900A10705}"/>
              </a:ext>
            </a:extLst>
          </p:cNvPr>
          <p:cNvSpPr txBox="1"/>
          <p:nvPr userDrawn="1"/>
        </p:nvSpPr>
        <p:spPr>
          <a:xfrm>
            <a:off x="4084652" y="6371514"/>
            <a:ext cx="4022696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67">
                <a:solidFill>
                  <a:schemeClr val="bg1"/>
                </a:solidFill>
                <a:latin typeface="Tele-GroteskNor" pitchFamily="2" charset="0"/>
                <a:cs typeface="Arial" pitchFamily="34" charset="0"/>
              </a:rPr>
              <a:t>T-Mobile Confidential. For internal use only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0876EC2-0A8D-4904-B4FF-20F6E96F93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947" y="2710985"/>
            <a:ext cx="12160108" cy="11081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lnSpc>
                <a:spcPct val="75000"/>
              </a:lnSpc>
              <a:defRPr sz="8800" b="0" i="0">
                <a:solidFill>
                  <a:schemeClr val="bg1"/>
                </a:solidFill>
                <a:latin typeface="Tele-GroteskUlt" pitchFamily="2" charset="0"/>
                <a:cs typeface="Tele-GroteskUlt" pitchFamily="2" charset="0"/>
              </a:defRPr>
            </a:lvl1pPr>
          </a:lstStyle>
          <a:p>
            <a:r>
              <a:rPr lang="en-US"/>
              <a:t>Cover Slid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143D62D-D967-49B7-8847-02FB34CFB3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3922" y="3595444"/>
            <a:ext cx="12144161" cy="7315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3200" b="0" i="0">
                <a:solidFill>
                  <a:srgbClr val="E20074"/>
                </a:solidFill>
                <a:latin typeface="+mn-lt"/>
                <a:cs typeface="Tele-GroteskFet" pitchFamily="2" charset="0"/>
              </a:defRPr>
            </a:lvl1pPr>
            <a:lvl2pPr marL="457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35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31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9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7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49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62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 &amp; Date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82A3CA8A-09AC-DD44-A498-A3666D2170AE}"/>
              </a:ext>
            </a:extLst>
          </p:cNvPr>
          <p:cNvSpPr txBox="1">
            <a:spLocks/>
          </p:cNvSpPr>
          <p:nvPr userDrawn="1"/>
        </p:nvSpPr>
        <p:spPr>
          <a:xfrm>
            <a:off x="11538671" y="6444850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467" smtClean="0">
                <a:solidFill>
                  <a:schemeClr val="bg1"/>
                </a:solidFill>
              </a:rPr>
              <a:pPr/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0682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03 Section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6F7445D-EEEC-BF47-A612-385C6769F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2102070A-1508-7E4F-8DC8-2550A1C613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239" y="2084574"/>
            <a:ext cx="12091527" cy="120046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lnSpc>
                <a:spcPct val="75000"/>
              </a:lnSpc>
              <a:defRPr sz="9600" b="0" i="0">
                <a:solidFill>
                  <a:schemeClr val="bg1"/>
                </a:solidFill>
                <a:latin typeface="Tele-GroteskUlt" pitchFamily="2" charset="0"/>
                <a:cs typeface="Tele-GroteskUlt" pitchFamily="2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1E5C94B-4E9E-884D-89E7-9106D52BDF3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239" y="3191884"/>
            <a:ext cx="12091527" cy="7315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3733" b="0" i="0">
                <a:solidFill>
                  <a:srgbClr val="E20074"/>
                </a:solidFill>
                <a:latin typeface="+mn-lt"/>
                <a:cs typeface="Tele-GroteskFet" pitchFamily="2" charset="0"/>
              </a:defRPr>
            </a:lvl1pPr>
            <a:lvl2pPr marL="457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35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31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9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7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49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62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57BA1E-26DA-6447-81C0-63BDB3EDCBB9}"/>
              </a:ext>
            </a:extLst>
          </p:cNvPr>
          <p:cNvSpPr txBox="1"/>
          <p:nvPr userDrawn="1"/>
        </p:nvSpPr>
        <p:spPr>
          <a:xfrm>
            <a:off x="9479337" y="6385854"/>
            <a:ext cx="2370051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67">
                <a:solidFill>
                  <a:schemeClr val="bg1"/>
                </a:solidFill>
                <a:latin typeface="Tele-GroteskNor" pitchFamily="2" charset="0"/>
                <a:cs typeface="Arial" pitchFamily="34" charset="0"/>
              </a:rPr>
              <a:t>T-Mobile Confidential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FC27DD8-DCF7-BA4F-A74A-E33421E425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81" y="5977336"/>
            <a:ext cx="1727563" cy="982811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0DF52DB-4B0C-C94C-BF6E-C4969AB16FF2}"/>
              </a:ext>
            </a:extLst>
          </p:cNvPr>
          <p:cNvSpPr txBox="1">
            <a:spLocks/>
          </p:cNvSpPr>
          <p:nvPr userDrawn="1"/>
        </p:nvSpPr>
        <p:spPr>
          <a:xfrm>
            <a:off x="11538671" y="6444850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467" smtClean="0">
                <a:solidFill>
                  <a:schemeClr val="bg1"/>
                </a:solidFill>
              </a:rPr>
              <a:pPr/>
              <a:t>‹#›</a:t>
            </a:fld>
            <a:endParaRPr lang="en-US" sz="1467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2181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DCF7D2-E526-4B58-848A-5FC9DD8280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120" y="182919"/>
            <a:ext cx="10972800" cy="731520"/>
          </a:xfrm>
          <a:prstGeom prst="rect">
            <a:avLst/>
          </a:prstGeom>
        </p:spPr>
        <p:txBody>
          <a:bodyPr/>
          <a:lstStyle>
            <a:lvl1pPr>
              <a:defRPr lang="en-US" sz="3200" b="0" i="0" kern="1200" dirty="0">
                <a:solidFill>
                  <a:schemeClr val="accent1"/>
                </a:solidFill>
                <a:latin typeface="TeleNeo Office ExtraBold" panose="020B0A04040202090203" pitchFamily="34" charset="0"/>
                <a:ea typeface="TeleGrotesk Next Ultra" pitchFamily="2" charset="0"/>
                <a:cs typeface="TeleGrotesk Next Ultra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platzhalter 3">
            <a:extLst>
              <a:ext uri="{FF2B5EF4-FFF2-40B4-BE49-F238E27FC236}">
                <a16:creationId xmlns:a16="http://schemas.microsoft.com/office/drawing/2014/main" id="{93EA8C6F-CA14-4D3E-ADC4-31FE9B510A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5" y="1052736"/>
            <a:ext cx="11233249" cy="52565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latin typeface="TeleNeo Office" panose="020B0504040202090203" pitchFamily="34" charset="0"/>
              </a:defRPr>
            </a:lvl1pPr>
            <a:lvl2pPr>
              <a:defRPr>
                <a:latin typeface="TeleNeo Office" panose="020B0504040202090203" pitchFamily="34" charset="0"/>
              </a:defRPr>
            </a:lvl2pPr>
            <a:lvl3pPr>
              <a:defRPr>
                <a:latin typeface="TeleNeo Office" panose="020B0504040202090203" pitchFamily="34" charset="0"/>
              </a:defRPr>
            </a:lvl3pPr>
            <a:lvl4pPr>
              <a:defRPr>
                <a:latin typeface="TeleNeo Office" panose="020B0504040202090203" pitchFamily="34" charset="0"/>
              </a:defRPr>
            </a:lvl4pPr>
            <a:lvl5pPr>
              <a:defRPr>
                <a:latin typeface="TeleNeo Office" panose="020B050404020209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235567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-Layouts_Text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FCAB2AE-A3D6-7347-89A8-D0A2F0DC9FD4}"/>
              </a:ext>
            </a:extLst>
          </p:cNvPr>
          <p:cNvSpPr/>
          <p:nvPr userDrawn="1"/>
        </p:nvSpPr>
        <p:spPr>
          <a:xfrm>
            <a:off x="0" y="0"/>
            <a:ext cx="5071466" cy="6858000"/>
          </a:xfrm>
          <a:prstGeom prst="rect">
            <a:avLst/>
          </a:prstGeom>
          <a:solidFill>
            <a:schemeClr val="tx1">
              <a:alpha val="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3D72CF1-7415-594E-87A3-587EEB2D360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81855" y="2655463"/>
            <a:ext cx="3742545" cy="3819524"/>
          </a:xfrm>
          <a:prstGeom prst="rect">
            <a:avLst/>
          </a:prstGeom>
        </p:spPr>
        <p:txBody>
          <a:bodyPr lIns="0"/>
          <a:lstStyle>
            <a:lvl1pPr marL="285750" indent="-285750">
              <a:buFont typeface="Arial" panose="020B0604020202020204" pitchFamily="34" charset="0"/>
              <a:buChar char="•"/>
              <a:defRPr sz="1400" b="0" i="0">
                <a:solidFill>
                  <a:schemeClr val="tx1"/>
                </a:solidFill>
                <a:latin typeface="TeleNeo Office" panose="020B0504040202090203" pitchFamily="34" charset="77"/>
              </a:defRPr>
            </a:lvl1pPr>
            <a:lvl2pPr marL="466725" indent="-173038">
              <a:buClrTx/>
              <a:buFont typeface="System Font Regular"/>
              <a:buChar char="–"/>
              <a:tabLst/>
              <a:defRPr sz="1400" b="0" i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2pPr>
            <a:lvl3pPr marL="293688" indent="-293688" algn="l">
              <a:tabLst/>
              <a:defRPr sz="1400" b="0" i="0" spc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3pPr>
            <a:lvl4pPr marL="461963" indent="-166688">
              <a:buFont typeface="System Font Regular"/>
              <a:buChar char="–"/>
              <a:tabLst/>
              <a:defRPr baseline="0">
                <a:solidFill>
                  <a:schemeClr val="tx1"/>
                </a:solidFill>
                <a:latin typeface="TeleNeo Office" panose="020B0504040202090203" pitchFamily="34" charset="77"/>
              </a:defRPr>
            </a:lvl4pPr>
            <a:lvl5pPr marL="628650" indent="-166688">
              <a:buFont typeface="System Font Regular"/>
              <a:buChar char="-"/>
              <a:tabLst/>
              <a:defRPr sz="1400" baseline="0">
                <a:solidFill>
                  <a:schemeClr val="tx1"/>
                </a:solidFill>
                <a:latin typeface="TeleNeo" panose="020B0504040202090203" pitchFamily="34" charset="0"/>
              </a:defRPr>
            </a:lvl5pPr>
            <a:lvl6pPr marL="801688" indent="-173038">
              <a:buFont typeface="System Font Regular"/>
              <a:buChar char="-"/>
              <a:tabLst/>
              <a:defRPr sz="1400" baseline="0">
                <a:latin typeface="TeleNeo Office" panose="020B0504040202090203" pitchFamily="34" charset="77"/>
              </a:defRPr>
            </a:lvl6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Kfdofksdfmdskl</a:t>
            </a:r>
            <a:endParaRPr lang="en-US"/>
          </a:p>
          <a:p>
            <a:pPr lvl="1"/>
            <a:r>
              <a:rPr lang="en-US" err="1"/>
              <a:t>Rrjewrjlwe</a:t>
            </a:r>
            <a:endParaRPr lang="en-US"/>
          </a:p>
          <a:p>
            <a:pPr lvl="1"/>
            <a:r>
              <a:rPr lang="en-US" err="1"/>
              <a:t>Ddkadl</a:t>
            </a:r>
            <a:endParaRPr lang="en-US"/>
          </a:p>
          <a:p>
            <a:pPr lvl="4"/>
            <a:r>
              <a:rPr lang="en-US" err="1"/>
              <a:t>Jddsalad</a:t>
            </a:r>
            <a:endParaRPr lang="en-US"/>
          </a:p>
          <a:p>
            <a:pPr lvl="5"/>
            <a:r>
              <a:rPr lang="en-US" err="1"/>
              <a:t>Ffifsojo</a:t>
            </a:r>
            <a:endParaRPr lang="en-US"/>
          </a:p>
          <a:p>
            <a:pPr lvl="2"/>
            <a:r>
              <a:rPr lang="en-US" err="1"/>
              <a:t>Ffjdsfklsmes</a:t>
            </a:r>
            <a:endParaRPr lang="en-US"/>
          </a:p>
          <a:p>
            <a:pPr lvl="3"/>
            <a:r>
              <a:rPr lang="en-US" err="1"/>
              <a:t>Djfdskla</a:t>
            </a:r>
            <a:endParaRPr lang="en-US"/>
          </a:p>
          <a:p>
            <a:pPr lvl="4"/>
            <a:r>
              <a:rPr lang="en-US" err="1"/>
              <a:t>Jdskla</a:t>
            </a:r>
            <a:endParaRPr lang="en-US"/>
          </a:p>
          <a:p>
            <a:pPr lvl="5"/>
            <a:r>
              <a:rPr lang="en-US" err="1"/>
              <a:t>ddjsklas</a:t>
            </a:r>
            <a:endParaRPr lang="en-US"/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AD85F8B8-7FEA-CD41-A9FE-644E89B2151F}"/>
              </a:ext>
            </a:extLst>
          </p:cNvPr>
          <p:cNvSpPr txBox="1">
            <a:spLocks/>
          </p:cNvSpPr>
          <p:nvPr userDrawn="1"/>
        </p:nvSpPr>
        <p:spPr>
          <a:xfrm>
            <a:off x="78952" y="6361009"/>
            <a:ext cx="629079" cy="489496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400" b="1" i="0" smtClean="0">
                <a:solidFill>
                  <a:srgbClr val="E20074"/>
                </a:solidFill>
                <a:latin typeface="+mj-lt"/>
                <a:ea typeface="Bebas Neue Bold" charset="0"/>
                <a:cs typeface="Bebas Neue Bold" charset="0"/>
              </a:rPr>
              <a:pPr algn="ctr"/>
              <a:t>‹#›</a:t>
            </a:fld>
            <a:endParaRPr lang="en-US" sz="1400" b="1" i="0">
              <a:solidFill>
                <a:srgbClr val="E20074"/>
              </a:solidFill>
              <a:latin typeface="+mj-lt"/>
              <a:ea typeface="Bebas Neue Bold" charset="0"/>
              <a:cs typeface="Bebas Neue Bold" charset="0"/>
            </a:endParaRPr>
          </a:p>
        </p:txBody>
      </p:sp>
      <p:sp>
        <p:nvSpPr>
          <p:cNvPr id="9" name="Title 23">
            <a:extLst>
              <a:ext uri="{FF2B5EF4-FFF2-40B4-BE49-F238E27FC236}">
                <a16:creationId xmlns:a16="http://schemas.microsoft.com/office/drawing/2014/main" id="{2C350198-13F7-1D4E-BAEE-42B6A6B78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1855" y="1124119"/>
            <a:ext cx="3462823" cy="717248"/>
          </a:xfrm>
          <a:prstGeom prst="rect">
            <a:avLst/>
          </a:prstGeom>
        </p:spPr>
        <p:txBody>
          <a:bodyPr wrap="square" lIns="0" anchor="t" anchorCtr="0">
            <a:spAutoFit/>
          </a:bodyPr>
          <a:lstStyle>
            <a:lvl1pPr>
              <a:lnSpc>
                <a:spcPct val="80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8" name="Subtext">
            <a:extLst>
              <a:ext uri="{FF2B5EF4-FFF2-40B4-BE49-F238E27FC236}">
                <a16:creationId xmlns:a16="http://schemas.microsoft.com/office/drawing/2014/main" id="{9F3BC46D-55AC-834B-A8B1-05896F9702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1855" y="1765526"/>
            <a:ext cx="2455863" cy="248530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lang="en-US" sz="1200" b="1" kern="1200" spc="300" dirty="0">
                <a:solidFill>
                  <a:schemeClr val="tx1"/>
                </a:solidFill>
                <a:latin typeface="TeleNeo Office ExtraBold" panose="020B0504040202090203" pitchFamily="34" charset="77"/>
                <a:ea typeface="Bebas Neue Bold" charset="0"/>
                <a:cs typeface="Bebas Neue Bold" charset="0"/>
              </a:defRPr>
            </a:lvl1pPr>
          </a:lstStyle>
          <a:p>
            <a:pPr marL="0" lvl="0" algn="l" defTabSz="914400" rtl="0" eaLnBrk="1" latinLnBrk="0" hangingPunct="1">
              <a:lnSpc>
                <a:spcPct val="80000"/>
              </a:lnSpc>
            </a:pPr>
            <a:r>
              <a:rPr lang="en-US"/>
              <a:t>SUBTEXT</a:t>
            </a:r>
          </a:p>
        </p:txBody>
      </p:sp>
      <p:pic>
        <p:nvPicPr>
          <p:cNvPr id="19" name="Picture Placeholder 2" descr="A picture containing sky, person, outdoor&#10;&#10;Description automatically generated">
            <a:extLst>
              <a:ext uri="{FF2B5EF4-FFF2-40B4-BE49-F238E27FC236}">
                <a16:creationId xmlns:a16="http://schemas.microsoft.com/office/drawing/2014/main" id="{B83FF132-813B-484C-B98C-1336BADCD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71466" y="861933"/>
            <a:ext cx="6134416" cy="5141199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737402F9-41A6-CD40-BF8A-DCB7B553BAB3}"/>
              </a:ext>
            </a:extLst>
          </p:cNvPr>
          <p:cNvGrpSpPr/>
          <p:nvPr userDrawn="1"/>
        </p:nvGrpSpPr>
        <p:grpSpPr>
          <a:xfrm>
            <a:off x="0" y="0"/>
            <a:ext cx="786983" cy="786983"/>
            <a:chOff x="0" y="0"/>
            <a:chExt cx="786983" cy="786983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66E8AC3-0D25-E04D-93EF-F7B9904DFBD1}"/>
                </a:ext>
              </a:extLst>
            </p:cNvPr>
            <p:cNvSpPr/>
            <p:nvPr userDrawn="1"/>
          </p:nvSpPr>
          <p:spPr>
            <a:xfrm>
              <a:off x="0" y="0"/>
              <a:ext cx="786983" cy="78698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spc="300">
                <a:latin typeface="linea-basic-10" charset="0"/>
                <a:ea typeface="linea-basic-10" charset="0"/>
                <a:cs typeface="linea-basic-10" charset="0"/>
              </a:endParaRP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6108192-D57D-4940-9062-2716E01114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94028" y="155747"/>
              <a:ext cx="398926" cy="4754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309020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F07B69B2-FD67-3CB6-3C0E-CDB10641E0C8}"/>
              </a:ext>
            </a:extLst>
          </p:cNvPr>
          <p:cNvSpPr txBox="1"/>
          <p:nvPr userDrawn="1"/>
        </p:nvSpPr>
        <p:spPr>
          <a:xfrm>
            <a:off x="11759125" y="6540209"/>
            <a:ext cx="17576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457859"/>
            <a:fld id="{6BA6F1A0-90E0-4E22-9403-0C3FB088F50A}" type="slidenum">
              <a:rPr lang="en-US" sz="1000">
                <a:solidFill>
                  <a:srgbClr val="E20074"/>
                </a:solidFill>
                <a:latin typeface="TeleNeo Office" panose="020B0504040202090203" pitchFamily="34" charset="0"/>
                <a:cs typeface="Arial" pitchFamily="34" charset="0"/>
              </a:rPr>
              <a:pPr algn="r" defTabSz="457859"/>
              <a:t>‹#›</a:t>
            </a:fld>
            <a:endParaRPr lang="en-US" sz="1000">
              <a:solidFill>
                <a:srgbClr val="E20074"/>
              </a:solidFill>
              <a:latin typeface="TeleNeo Office" panose="020B0504040202090203" pitchFamily="34" charset="0"/>
              <a:cs typeface="Arial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1B5395E-86BF-2CAF-F56D-10F2968D11A3}"/>
              </a:ext>
            </a:extLst>
          </p:cNvPr>
          <p:cNvSpPr txBox="1"/>
          <p:nvPr userDrawn="1"/>
        </p:nvSpPr>
        <p:spPr>
          <a:xfrm>
            <a:off x="10507798" y="6539819"/>
            <a:ext cx="110286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57859"/>
            <a:r>
              <a:rPr lang="en-US" sz="1000">
                <a:solidFill>
                  <a:srgbClr val="E20074"/>
                </a:solidFill>
                <a:latin typeface="TeleNeo Office" panose="020B0504040202090203" pitchFamily="34" charset="0"/>
                <a:cs typeface="Arial" pitchFamily="34" charset="0"/>
              </a:rPr>
              <a:t>T-Mobile Confidentia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8B507EC-ECA8-9536-4B9E-76DA922B6260}"/>
              </a:ext>
            </a:extLst>
          </p:cNvPr>
          <p:cNvSpPr/>
          <p:nvPr userDrawn="1"/>
        </p:nvSpPr>
        <p:spPr>
          <a:xfrm>
            <a:off x="11663664" y="6588651"/>
            <a:ext cx="51237" cy="5396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TeleNeo Office" panose="020B050404020209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151978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7218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044503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 - Notice of Confidentialit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66263" y="1779753"/>
            <a:ext cx="10440275" cy="17517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89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AB4EE1B-E89C-4E00-84AF-C1E645F4A0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0398" y="1042707"/>
            <a:ext cx="10388484" cy="396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2161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 - T-Mobile Highly Restricte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66263" y="1779753"/>
            <a:ext cx="10440275" cy="17517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89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DD51292-AF52-469D-9A58-482A466B1F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6334" y="1037000"/>
            <a:ext cx="10396613" cy="399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7603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ext-Layouts_2-Column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46565AE-B975-A344-A26F-DA54B26F7769}"/>
              </a:ext>
            </a:extLst>
          </p:cNvPr>
          <p:cNvSpPr txBox="1">
            <a:spLocks/>
          </p:cNvSpPr>
          <p:nvPr userDrawn="1"/>
        </p:nvSpPr>
        <p:spPr>
          <a:xfrm>
            <a:off x="78952" y="6361009"/>
            <a:ext cx="629079" cy="489496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400" b="1" i="0" smtClean="0">
                <a:solidFill>
                  <a:schemeClr val="accent1"/>
                </a:solidFill>
                <a:latin typeface="+mj-lt"/>
                <a:ea typeface="Bebas Neue Bold" charset="0"/>
                <a:cs typeface="Bebas Neue Bold" charset="0"/>
              </a:rPr>
              <a:pPr algn="ctr"/>
              <a:t>‹#›</a:t>
            </a:fld>
            <a:endParaRPr lang="en-US" sz="1400" b="1" i="0">
              <a:solidFill>
                <a:schemeClr val="accent1"/>
              </a:solidFill>
              <a:latin typeface="+mj-lt"/>
              <a:ea typeface="Bebas Neue Bold" charset="0"/>
              <a:cs typeface="Bebas Neue Bold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E23C24-18E2-4C4A-B9CE-8F2D95D4DF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0600" y="1113959"/>
            <a:ext cx="9616440" cy="928201"/>
          </a:xfrm>
          <a:prstGeom prst="rect">
            <a:avLst/>
          </a:prstGeom>
        </p:spPr>
        <p:txBody>
          <a:bodyPr/>
          <a:lstStyle>
            <a:lvl1pPr>
              <a:defRPr sz="4800" baseline="0">
                <a:solidFill>
                  <a:schemeClr val="accent1"/>
                </a:solidFill>
                <a:latin typeface="TeleNeo Office ExtraBold" panose="020B0504040202090203" pitchFamily="34" charset="77"/>
              </a:defRPr>
            </a:lvl1pPr>
          </a:lstStyle>
          <a:p>
            <a:r>
              <a:rPr lang="en-US"/>
              <a:t>Title Highlight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F3326127-ECF9-FF47-B5E9-AD240FE840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60362" y="2535611"/>
            <a:ext cx="4067836" cy="3819524"/>
          </a:xfrm>
          <a:prstGeom prst="rect">
            <a:avLst/>
          </a:prstGeom>
        </p:spPr>
        <p:txBody>
          <a:bodyPr lIns="0"/>
          <a:lstStyle>
            <a:lvl1pPr marL="285750" indent="-285750">
              <a:buFont typeface="Arial" panose="020B0604020202020204" pitchFamily="34" charset="0"/>
              <a:buChar char="•"/>
              <a:defRPr sz="1400" b="0" i="0">
                <a:solidFill>
                  <a:schemeClr val="tx1"/>
                </a:solidFill>
                <a:latin typeface="TeleNeo Office" panose="020B0504040202090203" pitchFamily="34" charset="77"/>
              </a:defRPr>
            </a:lvl1pPr>
            <a:lvl2pPr marL="466725" indent="-173038">
              <a:buClrTx/>
              <a:buFont typeface="System Font Regular"/>
              <a:buChar char="–"/>
              <a:tabLst/>
              <a:defRPr sz="1400" b="0" i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2pPr>
            <a:lvl3pPr marL="293688" indent="-293688" algn="l">
              <a:tabLst/>
              <a:defRPr sz="1400" b="0" i="0" spc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3pPr>
            <a:lvl4pPr marL="461963" indent="-166688">
              <a:buFont typeface="System Font Regular"/>
              <a:buChar char="–"/>
              <a:tabLst/>
              <a:defRPr baseline="0">
                <a:solidFill>
                  <a:schemeClr val="tx1"/>
                </a:solidFill>
                <a:latin typeface="TeleNeo Office" panose="020B0504040202090203" pitchFamily="34" charset="77"/>
              </a:defRPr>
            </a:lvl4pPr>
            <a:lvl5pPr marL="628650" indent="-166688">
              <a:buFont typeface="System Font Regular"/>
              <a:buChar char="-"/>
              <a:tabLst/>
              <a:defRPr sz="1400" baseline="0">
                <a:solidFill>
                  <a:schemeClr val="tx1"/>
                </a:solidFill>
                <a:latin typeface="TeleNeo" panose="020B0504040202090203" pitchFamily="34" charset="0"/>
              </a:defRPr>
            </a:lvl5pPr>
            <a:lvl6pPr marL="801688" indent="-173038">
              <a:buFont typeface="System Font Regular"/>
              <a:buChar char="-"/>
              <a:tabLst/>
              <a:defRPr sz="1400" baseline="0">
                <a:latin typeface="TeleNeo Office" panose="020B0504040202090203" pitchFamily="34" charset="77"/>
              </a:defRPr>
            </a:lvl6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Kfdofksdfmdskl</a:t>
            </a:r>
            <a:endParaRPr lang="en-US"/>
          </a:p>
          <a:p>
            <a:pPr lvl="1"/>
            <a:r>
              <a:rPr lang="en-US" err="1"/>
              <a:t>Rrjewrjlwe</a:t>
            </a:r>
            <a:endParaRPr lang="en-US"/>
          </a:p>
          <a:p>
            <a:pPr lvl="1"/>
            <a:r>
              <a:rPr lang="en-US" err="1"/>
              <a:t>Ddkadl</a:t>
            </a:r>
            <a:endParaRPr lang="en-US"/>
          </a:p>
          <a:p>
            <a:pPr lvl="4"/>
            <a:r>
              <a:rPr lang="en-US" err="1"/>
              <a:t>Jddsalad</a:t>
            </a:r>
            <a:endParaRPr lang="en-US"/>
          </a:p>
          <a:p>
            <a:pPr lvl="5"/>
            <a:r>
              <a:rPr lang="en-US" err="1"/>
              <a:t>Ffifsojo</a:t>
            </a:r>
            <a:endParaRPr lang="en-US"/>
          </a:p>
          <a:p>
            <a:pPr lvl="2"/>
            <a:r>
              <a:rPr lang="en-US" err="1"/>
              <a:t>Ffjdsfklsmes</a:t>
            </a:r>
            <a:endParaRPr lang="en-US"/>
          </a:p>
          <a:p>
            <a:pPr lvl="3"/>
            <a:r>
              <a:rPr lang="en-US" err="1"/>
              <a:t>Djfdskla</a:t>
            </a:r>
            <a:endParaRPr lang="en-US"/>
          </a:p>
          <a:p>
            <a:pPr lvl="4"/>
            <a:r>
              <a:rPr lang="en-US" err="1"/>
              <a:t>Jdskla</a:t>
            </a:r>
            <a:endParaRPr lang="en-US"/>
          </a:p>
          <a:p>
            <a:pPr lvl="5"/>
            <a:r>
              <a:rPr lang="en-US" err="1"/>
              <a:t>ddjsklas</a:t>
            </a:r>
            <a:endParaRPr lang="en-US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1058B6B0-F4AB-354E-8F14-48C5819E30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90600" y="2535611"/>
            <a:ext cx="4067836" cy="3819524"/>
          </a:xfrm>
          <a:prstGeom prst="rect">
            <a:avLst/>
          </a:prstGeom>
        </p:spPr>
        <p:txBody>
          <a:bodyPr lIns="0"/>
          <a:lstStyle>
            <a:lvl1pPr marL="285750" indent="-285750">
              <a:buFont typeface="Arial" panose="020B0604020202020204" pitchFamily="34" charset="0"/>
              <a:buChar char="•"/>
              <a:defRPr sz="1400" b="0" i="0">
                <a:solidFill>
                  <a:schemeClr val="tx1"/>
                </a:solidFill>
                <a:latin typeface="TeleNeo Office" panose="020B0504040202090203" pitchFamily="34" charset="77"/>
              </a:defRPr>
            </a:lvl1pPr>
            <a:lvl2pPr marL="466725" indent="-173038">
              <a:buClrTx/>
              <a:buFont typeface="System Font Regular"/>
              <a:buChar char="–"/>
              <a:tabLst/>
              <a:defRPr sz="1400" b="0" i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2pPr>
            <a:lvl3pPr marL="293688" indent="-293688" algn="l">
              <a:tabLst/>
              <a:defRPr sz="1400" b="0" i="0" spc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3pPr>
            <a:lvl4pPr marL="461963" indent="-166688">
              <a:buFont typeface="System Font Regular"/>
              <a:buChar char="–"/>
              <a:tabLst/>
              <a:defRPr baseline="0">
                <a:solidFill>
                  <a:schemeClr val="tx1"/>
                </a:solidFill>
                <a:latin typeface="TeleNeo Office" panose="020B0504040202090203" pitchFamily="34" charset="77"/>
              </a:defRPr>
            </a:lvl4pPr>
            <a:lvl5pPr marL="628650" indent="-166688">
              <a:buFont typeface="System Font Regular"/>
              <a:buChar char="-"/>
              <a:tabLst/>
              <a:defRPr sz="1400" baseline="0">
                <a:solidFill>
                  <a:schemeClr val="tx1"/>
                </a:solidFill>
                <a:latin typeface="TeleNeo" panose="020B0504040202090203" pitchFamily="34" charset="0"/>
              </a:defRPr>
            </a:lvl5pPr>
            <a:lvl6pPr marL="801688" indent="-173038">
              <a:buFont typeface="System Font Regular"/>
              <a:buChar char="-"/>
              <a:tabLst/>
              <a:defRPr sz="1400" baseline="0">
                <a:latin typeface="TeleNeo Office" panose="020B0504040202090203" pitchFamily="34" charset="77"/>
              </a:defRPr>
            </a:lvl6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Kfdofksdfmdskl</a:t>
            </a:r>
            <a:endParaRPr lang="en-US"/>
          </a:p>
          <a:p>
            <a:pPr lvl="1"/>
            <a:r>
              <a:rPr lang="en-US" err="1"/>
              <a:t>Rrjewrjlwe</a:t>
            </a:r>
            <a:endParaRPr lang="en-US"/>
          </a:p>
          <a:p>
            <a:pPr lvl="1"/>
            <a:r>
              <a:rPr lang="en-US" err="1"/>
              <a:t>Ddkadl</a:t>
            </a:r>
            <a:endParaRPr lang="en-US"/>
          </a:p>
          <a:p>
            <a:pPr lvl="4"/>
            <a:r>
              <a:rPr lang="en-US" err="1"/>
              <a:t>Jddsalad</a:t>
            </a:r>
            <a:endParaRPr lang="en-US"/>
          </a:p>
          <a:p>
            <a:pPr lvl="5"/>
            <a:r>
              <a:rPr lang="en-US" err="1"/>
              <a:t>Ffifsojo</a:t>
            </a:r>
            <a:endParaRPr lang="en-US"/>
          </a:p>
          <a:p>
            <a:pPr lvl="2"/>
            <a:r>
              <a:rPr lang="en-US" err="1"/>
              <a:t>Ffjdsfklsmes</a:t>
            </a:r>
            <a:endParaRPr lang="en-US"/>
          </a:p>
          <a:p>
            <a:pPr lvl="3"/>
            <a:r>
              <a:rPr lang="en-US" err="1"/>
              <a:t>Djfdskla</a:t>
            </a:r>
            <a:endParaRPr lang="en-US"/>
          </a:p>
          <a:p>
            <a:pPr lvl="4"/>
            <a:r>
              <a:rPr lang="en-US" err="1"/>
              <a:t>Jdskla</a:t>
            </a:r>
            <a:endParaRPr lang="en-US"/>
          </a:p>
          <a:p>
            <a:pPr lvl="5"/>
            <a:r>
              <a:rPr lang="en-US" err="1"/>
              <a:t>ddjsklas</a:t>
            </a:r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9390D53-117F-16E6-60FE-176666536E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5401" y="113096"/>
            <a:ext cx="1587875" cy="491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9816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ext-Layouts_2-Column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46565AE-B975-A344-A26F-DA54B26F7769}"/>
              </a:ext>
            </a:extLst>
          </p:cNvPr>
          <p:cNvSpPr txBox="1">
            <a:spLocks/>
          </p:cNvSpPr>
          <p:nvPr userDrawn="1"/>
        </p:nvSpPr>
        <p:spPr>
          <a:xfrm>
            <a:off x="78952" y="6361009"/>
            <a:ext cx="629079" cy="489496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400" b="1" i="0" smtClean="0">
                <a:solidFill>
                  <a:schemeClr val="accent1"/>
                </a:solidFill>
                <a:latin typeface="+mj-lt"/>
                <a:ea typeface="Bebas Neue Bold" charset="0"/>
                <a:cs typeface="Bebas Neue Bold" charset="0"/>
              </a:rPr>
              <a:pPr algn="ctr"/>
              <a:t>‹#›</a:t>
            </a:fld>
            <a:endParaRPr lang="en-US" sz="1400" b="1" i="0">
              <a:solidFill>
                <a:schemeClr val="accent1"/>
              </a:solidFill>
              <a:latin typeface="+mj-lt"/>
              <a:ea typeface="Bebas Neue Bold" charset="0"/>
              <a:cs typeface="Bebas Neue Bold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E23C24-18E2-4C4A-B9CE-8F2D95D4DF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372" y="345121"/>
            <a:ext cx="11435256" cy="489496"/>
          </a:xfrm>
          <a:prstGeom prst="rect">
            <a:avLst/>
          </a:prstGeom>
        </p:spPr>
        <p:txBody>
          <a:bodyPr anchor="ctr"/>
          <a:lstStyle>
            <a:lvl1pPr>
              <a:defRPr sz="3200" baseline="0">
                <a:solidFill>
                  <a:schemeClr val="accent1"/>
                </a:solidFill>
                <a:latin typeface="TeleNeo Office ExtraBold" panose="020B0504040202090203" pitchFamily="34" charset="77"/>
              </a:defRPr>
            </a:lvl1pPr>
          </a:lstStyle>
          <a:p>
            <a:r>
              <a:rPr lang="en-US"/>
              <a:t>Short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9390D53-117F-16E6-60FE-176666536E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07462" y="6249736"/>
            <a:ext cx="1587875" cy="491259"/>
          </a:xfrm>
          <a:prstGeom prst="rect">
            <a:avLst/>
          </a:prstGeom>
        </p:spPr>
      </p:pic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85F01D59-CCF8-D09F-4F7B-8413D954D95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8372" y="856475"/>
            <a:ext cx="11435256" cy="644534"/>
          </a:xfrm>
          <a:prstGeom prst="rect">
            <a:avLst/>
          </a:prstGeom>
        </p:spPr>
        <p:txBody>
          <a:bodyPr lIns="9144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chemeClr val="accent5"/>
                </a:solidFill>
                <a:latin typeface="TeleNeo Office Medium" panose="020B0504040202090203" pitchFamily="34" charset="77"/>
              </a:defRPr>
            </a:lvl1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tory line explaining the Title</a:t>
            </a:r>
          </a:p>
          <a:p>
            <a:pPr lvl="0"/>
            <a:r>
              <a:rPr lang="en-US"/>
              <a:t> 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0CA9F025-4DB7-B2EC-F350-D221CAB1A3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8372" y="1632415"/>
            <a:ext cx="11435256" cy="4369110"/>
          </a:xfrm>
          <a:prstGeom prst="rect">
            <a:avLst/>
          </a:prstGeom>
        </p:spPr>
        <p:txBody>
          <a:bodyPr lIns="0"/>
          <a:lstStyle>
            <a:lvl1pPr marL="285750" indent="-285750">
              <a:buFont typeface="Arial" panose="020B0604020202020204" pitchFamily="34" charset="0"/>
              <a:buChar char="•"/>
              <a:defRPr sz="1400" b="0" i="0">
                <a:solidFill>
                  <a:schemeClr val="tx1"/>
                </a:solidFill>
                <a:latin typeface="TeleNeo Office" panose="020B0504040202090203" pitchFamily="34" charset="77"/>
              </a:defRPr>
            </a:lvl1pPr>
            <a:lvl2pPr marL="466725" indent="-173038">
              <a:buClrTx/>
              <a:buFont typeface="System Font Regular"/>
              <a:buChar char="–"/>
              <a:tabLst/>
              <a:defRPr sz="1400" b="0" i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2pPr>
            <a:lvl3pPr marL="293688" indent="-293688" algn="l">
              <a:tabLst/>
              <a:defRPr sz="1400" b="0" i="0" spc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3pPr>
            <a:lvl4pPr marL="461963" indent="-166688">
              <a:buFont typeface="System Font Regular"/>
              <a:buChar char="–"/>
              <a:tabLst/>
              <a:defRPr baseline="0">
                <a:solidFill>
                  <a:schemeClr val="tx1"/>
                </a:solidFill>
                <a:latin typeface="TeleNeo Office" panose="020B0504040202090203" pitchFamily="34" charset="77"/>
              </a:defRPr>
            </a:lvl4pPr>
            <a:lvl5pPr marL="628650" indent="-166688">
              <a:buFont typeface="System Font Regular"/>
              <a:buChar char="-"/>
              <a:tabLst/>
              <a:defRPr sz="1400" baseline="0">
                <a:solidFill>
                  <a:schemeClr val="tx1"/>
                </a:solidFill>
                <a:latin typeface="TeleNeo" panose="020B0504040202090203" pitchFamily="34" charset="0"/>
              </a:defRPr>
            </a:lvl5pPr>
            <a:lvl6pPr marL="801688" indent="-173038">
              <a:buFont typeface="System Font Regular"/>
              <a:buChar char="-"/>
              <a:tabLst/>
              <a:defRPr sz="1400" baseline="0">
                <a:latin typeface="TeleNeo Office" panose="020B0504040202090203" pitchFamily="34" charset="77"/>
              </a:defRPr>
            </a:lvl6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Kfdofksdfmdskl</a:t>
            </a:r>
            <a:endParaRPr lang="en-US"/>
          </a:p>
          <a:p>
            <a:pPr lvl="1"/>
            <a:r>
              <a:rPr lang="en-US" err="1"/>
              <a:t>Rrjewrjlwe</a:t>
            </a:r>
            <a:endParaRPr lang="en-US"/>
          </a:p>
          <a:p>
            <a:pPr lvl="1"/>
            <a:r>
              <a:rPr lang="en-US" err="1"/>
              <a:t>Ddkadl</a:t>
            </a:r>
            <a:endParaRPr lang="en-US"/>
          </a:p>
          <a:p>
            <a:pPr lvl="4"/>
            <a:r>
              <a:rPr lang="en-US" err="1"/>
              <a:t>Jddsalad</a:t>
            </a:r>
            <a:endParaRPr lang="en-US"/>
          </a:p>
          <a:p>
            <a:pPr lvl="5"/>
            <a:r>
              <a:rPr lang="en-US" err="1"/>
              <a:t>Ffifsojo</a:t>
            </a:r>
            <a:endParaRPr lang="en-US"/>
          </a:p>
          <a:p>
            <a:pPr lvl="2"/>
            <a:r>
              <a:rPr lang="en-US" err="1"/>
              <a:t>Ffjdsfklsmes</a:t>
            </a:r>
            <a:endParaRPr lang="en-US"/>
          </a:p>
          <a:p>
            <a:pPr lvl="3"/>
            <a:r>
              <a:rPr lang="en-US" err="1"/>
              <a:t>Djfdskla</a:t>
            </a:r>
            <a:endParaRPr lang="en-US"/>
          </a:p>
          <a:p>
            <a:pPr lvl="4"/>
            <a:r>
              <a:rPr lang="en-US" err="1"/>
              <a:t>Jdskla</a:t>
            </a:r>
            <a:endParaRPr lang="en-US"/>
          </a:p>
          <a:p>
            <a:pPr lvl="5"/>
            <a:r>
              <a:rPr lang="en-US" err="1"/>
              <a:t>ddjskla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74212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051181-1FC5-4356-84AF-17948F2572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5600" y="1"/>
            <a:ext cx="11480800" cy="737297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C3741A64-9891-4DF9-BB6B-FD1FF7EB60A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292495" y="6571137"/>
            <a:ext cx="552552" cy="259852"/>
          </a:xfrm>
          <a:prstGeom prst="rect">
            <a:avLst/>
          </a:prstGeom>
        </p:spPr>
        <p:txBody>
          <a:bodyPr/>
          <a:lstStyle/>
          <a:p>
            <a:fld id="{42079688-E3A7-45EC-AD88-39CDD854744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8104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04 - Body Slides -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401DCFB-D2A6-EF43-B2EA-4020BB29BEA0}"/>
              </a:ext>
            </a:extLst>
          </p:cNvPr>
          <p:cNvSpPr/>
          <p:nvPr userDrawn="1"/>
        </p:nvSpPr>
        <p:spPr>
          <a:xfrm>
            <a:off x="11395605" y="6672077"/>
            <a:ext cx="85195" cy="8519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58889982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DCF7D2-E526-4B58-848A-5FC9DD8280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622" y="123926"/>
            <a:ext cx="11591578" cy="480758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lang="en-US" sz="2400" b="0" i="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TeleNeo Office ExtraBold" panose="020B0A04040202090203" pitchFamily="34" charset="0"/>
                <a:ea typeface="TeleGrotesk Next Ultra" pitchFamily="2" charset="0"/>
                <a:cs typeface="TeleGrotesk Next Ultra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B82527FD-F9D8-36FD-D4FB-3680BAB118BF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295623" y="1587723"/>
            <a:ext cx="11591577" cy="472159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719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-Layouts_Text-Image_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FCAB2AE-A3D6-7347-89A8-D0A2F0DC9FD4}"/>
              </a:ext>
            </a:extLst>
          </p:cNvPr>
          <p:cNvSpPr/>
          <p:nvPr userDrawn="1"/>
        </p:nvSpPr>
        <p:spPr>
          <a:xfrm>
            <a:off x="0" y="0"/>
            <a:ext cx="507146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3A960827-0349-E24C-8778-AF82D62C49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81855" y="2655463"/>
            <a:ext cx="3742545" cy="3819524"/>
          </a:xfrm>
          <a:prstGeom prst="rect">
            <a:avLst/>
          </a:prstGeom>
        </p:spPr>
        <p:txBody>
          <a:bodyPr lIns="0"/>
          <a:lstStyle>
            <a:lvl1pPr marL="285750" indent="-285750">
              <a:buFont typeface="Arial" panose="020B0604020202020204" pitchFamily="34" charset="0"/>
              <a:buChar char="•"/>
              <a:defRPr sz="1400" b="0" i="0">
                <a:solidFill>
                  <a:schemeClr val="bg1"/>
                </a:solidFill>
                <a:latin typeface="TeleNeo Office" panose="020B0504040202090203" pitchFamily="34" charset="77"/>
              </a:defRPr>
            </a:lvl1pPr>
            <a:lvl2pPr marL="466725" indent="-173038">
              <a:buClrTx/>
              <a:buFont typeface="System Font Regular"/>
              <a:buChar char="–"/>
              <a:tabLst/>
              <a:defRPr sz="1400" b="0" i="0" baseline="0">
                <a:solidFill>
                  <a:schemeClr val="bg1"/>
                </a:solidFill>
                <a:latin typeface="TeleNeo Office" panose="020B0504040202090203" pitchFamily="34" charset="77"/>
              </a:defRPr>
            </a:lvl2pPr>
            <a:lvl3pPr marL="293688" indent="-293688" algn="l">
              <a:tabLst/>
              <a:defRPr sz="1400" b="0" i="0" spc="0" baseline="0">
                <a:solidFill>
                  <a:schemeClr val="bg1"/>
                </a:solidFill>
                <a:latin typeface="TeleNeo Office" panose="020B0504040202090203" pitchFamily="34" charset="77"/>
              </a:defRPr>
            </a:lvl3pPr>
            <a:lvl4pPr marL="461963" indent="-166688">
              <a:buFont typeface="System Font Regular"/>
              <a:buChar char="–"/>
              <a:tabLst/>
              <a:defRPr baseline="0">
                <a:solidFill>
                  <a:schemeClr val="bg1"/>
                </a:solidFill>
                <a:latin typeface="TeleNeo Office" panose="020B0504040202090203" pitchFamily="34" charset="77"/>
              </a:defRPr>
            </a:lvl4pPr>
            <a:lvl5pPr marL="628650" indent="-166688">
              <a:buFont typeface="System Font Regular"/>
              <a:buChar char="-"/>
              <a:tabLst/>
              <a:defRPr sz="1400" baseline="0">
                <a:solidFill>
                  <a:schemeClr val="bg1"/>
                </a:solidFill>
                <a:latin typeface="TeleNeo" panose="020B0504040202090203" pitchFamily="34" charset="0"/>
              </a:defRPr>
            </a:lvl5pPr>
            <a:lvl6pPr marL="801688" indent="-173038">
              <a:buFont typeface="System Font Regular"/>
              <a:buChar char="-"/>
              <a:tabLst/>
              <a:defRPr sz="1400" baseline="0">
                <a:solidFill>
                  <a:schemeClr val="bg1"/>
                </a:solidFill>
                <a:latin typeface="TeleNeo Office" panose="020B0504040202090203" pitchFamily="34" charset="77"/>
              </a:defRPr>
            </a:lvl6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Kfdofksdfmdskl</a:t>
            </a:r>
            <a:endParaRPr lang="en-US"/>
          </a:p>
          <a:p>
            <a:pPr lvl="1"/>
            <a:r>
              <a:rPr lang="en-US" err="1"/>
              <a:t>Rrjewrjlwe</a:t>
            </a:r>
            <a:endParaRPr lang="en-US"/>
          </a:p>
          <a:p>
            <a:pPr lvl="1"/>
            <a:r>
              <a:rPr lang="en-US" err="1"/>
              <a:t>Ddkadl</a:t>
            </a:r>
            <a:endParaRPr lang="en-US"/>
          </a:p>
          <a:p>
            <a:pPr lvl="4"/>
            <a:r>
              <a:rPr lang="en-US" err="1"/>
              <a:t>Jddsalad</a:t>
            </a:r>
            <a:endParaRPr lang="en-US"/>
          </a:p>
          <a:p>
            <a:pPr lvl="5"/>
            <a:r>
              <a:rPr lang="en-US" err="1"/>
              <a:t>Ffifsojo</a:t>
            </a:r>
            <a:endParaRPr lang="en-US"/>
          </a:p>
          <a:p>
            <a:pPr lvl="2"/>
            <a:r>
              <a:rPr lang="en-US" err="1"/>
              <a:t>Ffjdsfklsmes</a:t>
            </a:r>
            <a:endParaRPr lang="en-US"/>
          </a:p>
          <a:p>
            <a:pPr lvl="3"/>
            <a:r>
              <a:rPr lang="en-US" err="1"/>
              <a:t>Djfdskla</a:t>
            </a:r>
            <a:endParaRPr lang="en-US"/>
          </a:p>
          <a:p>
            <a:pPr lvl="4"/>
            <a:r>
              <a:rPr lang="en-US" err="1"/>
              <a:t>Jdskla</a:t>
            </a:r>
            <a:endParaRPr lang="en-US"/>
          </a:p>
          <a:p>
            <a:pPr lvl="5"/>
            <a:r>
              <a:rPr lang="en-US" err="1"/>
              <a:t>ddjsklas</a:t>
            </a:r>
            <a:endParaRPr lang="en-US"/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AD85F8B8-7FEA-CD41-A9FE-644E89B2151F}"/>
              </a:ext>
            </a:extLst>
          </p:cNvPr>
          <p:cNvSpPr txBox="1">
            <a:spLocks/>
          </p:cNvSpPr>
          <p:nvPr userDrawn="1"/>
        </p:nvSpPr>
        <p:spPr>
          <a:xfrm>
            <a:off x="78952" y="6361009"/>
            <a:ext cx="629079" cy="489496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400" b="1" i="0" smtClean="0">
                <a:solidFill>
                  <a:schemeClr val="bg1"/>
                </a:solidFill>
                <a:latin typeface="+mj-lt"/>
                <a:ea typeface="Bebas Neue Bold" charset="0"/>
                <a:cs typeface="Bebas Neue Bold" charset="0"/>
              </a:rPr>
              <a:pPr algn="ctr"/>
              <a:t>‹#›</a:t>
            </a:fld>
            <a:endParaRPr lang="en-US" sz="1400" b="1" i="0">
              <a:solidFill>
                <a:schemeClr val="bg1"/>
              </a:solidFill>
              <a:latin typeface="+mj-lt"/>
              <a:ea typeface="Bebas Neue Bold" charset="0"/>
              <a:cs typeface="Bebas Neue Bold" charset="0"/>
            </a:endParaRPr>
          </a:p>
        </p:txBody>
      </p:sp>
      <p:sp>
        <p:nvSpPr>
          <p:cNvPr id="18" name="Subtext">
            <a:extLst>
              <a:ext uri="{FF2B5EF4-FFF2-40B4-BE49-F238E27FC236}">
                <a16:creationId xmlns:a16="http://schemas.microsoft.com/office/drawing/2014/main" id="{9F3BC46D-55AC-834B-A8B1-05896F9702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1855" y="1765526"/>
            <a:ext cx="2455863" cy="248530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lang="en-US" sz="1200" b="1" kern="1200" spc="300" dirty="0">
                <a:solidFill>
                  <a:schemeClr val="bg1"/>
                </a:solidFill>
                <a:latin typeface="TeleNeo Office ExtraBold" panose="020B0504040202090203" pitchFamily="34" charset="77"/>
                <a:ea typeface="Bebas Neue Bold" charset="0"/>
                <a:cs typeface="Bebas Neue Bold" charset="0"/>
              </a:defRPr>
            </a:lvl1pPr>
          </a:lstStyle>
          <a:p>
            <a:pPr marL="0" lvl="0" algn="l" defTabSz="914400" rtl="0" eaLnBrk="1" latinLnBrk="0" hangingPunct="1">
              <a:lnSpc>
                <a:spcPct val="80000"/>
              </a:lnSpc>
            </a:pPr>
            <a:r>
              <a:rPr lang="en-US"/>
              <a:t>SUBTEXT</a:t>
            </a:r>
          </a:p>
        </p:txBody>
      </p:sp>
      <p:pic>
        <p:nvPicPr>
          <p:cNvPr id="19" name="Picture Placeholder 2" descr="A picture containing sky, person, outdoor&#10;&#10;Description automatically generated">
            <a:extLst>
              <a:ext uri="{FF2B5EF4-FFF2-40B4-BE49-F238E27FC236}">
                <a16:creationId xmlns:a16="http://schemas.microsoft.com/office/drawing/2014/main" id="{B83FF132-813B-484C-B98C-1336BADCD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71466" y="861933"/>
            <a:ext cx="6134416" cy="5141199"/>
          </a:xfrm>
          <a:prstGeom prst="rect">
            <a:avLst/>
          </a:prstGeom>
        </p:spPr>
      </p:pic>
      <p:sp>
        <p:nvSpPr>
          <p:cNvPr id="22" name="Title 23">
            <a:extLst>
              <a:ext uri="{FF2B5EF4-FFF2-40B4-BE49-F238E27FC236}">
                <a16:creationId xmlns:a16="http://schemas.microsoft.com/office/drawing/2014/main" id="{DFB36F33-DD46-604C-97E4-C11A9410B7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1855" y="1124119"/>
            <a:ext cx="3462823" cy="717248"/>
          </a:xfrm>
          <a:prstGeom prst="rect">
            <a:avLst/>
          </a:prstGeom>
        </p:spPr>
        <p:txBody>
          <a:bodyPr wrap="square" lIns="0" anchor="t" anchorCtr="0">
            <a:spAutoFit/>
          </a:bodyPr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E86E4C9-3DE1-3548-A4FF-6D2667D4654F}"/>
              </a:ext>
            </a:extLst>
          </p:cNvPr>
          <p:cNvGrpSpPr/>
          <p:nvPr userDrawn="1"/>
        </p:nvGrpSpPr>
        <p:grpSpPr>
          <a:xfrm>
            <a:off x="0" y="0"/>
            <a:ext cx="786983" cy="786983"/>
            <a:chOff x="0" y="0"/>
            <a:chExt cx="786983" cy="786983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E450A1E-BC49-8A4C-A155-2DE868FAF45F}"/>
                </a:ext>
              </a:extLst>
            </p:cNvPr>
            <p:cNvSpPr/>
            <p:nvPr/>
          </p:nvSpPr>
          <p:spPr>
            <a:xfrm>
              <a:off x="0" y="0"/>
              <a:ext cx="786983" cy="7869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spc="300">
                <a:latin typeface="linea-basic-10" charset="0"/>
                <a:ea typeface="linea-basic-10" charset="0"/>
                <a:cs typeface="linea-basic-10" charset="0"/>
              </a:endParaRP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C1096176-196F-D844-9268-25D763D1EF0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94028" y="155747"/>
              <a:ext cx="398926" cy="4754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0442009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-Layouts_2-Column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46565AE-B975-A344-A26F-DA54B26F7769}"/>
              </a:ext>
            </a:extLst>
          </p:cNvPr>
          <p:cNvSpPr txBox="1">
            <a:spLocks/>
          </p:cNvSpPr>
          <p:nvPr userDrawn="1"/>
        </p:nvSpPr>
        <p:spPr>
          <a:xfrm>
            <a:off x="78952" y="6361009"/>
            <a:ext cx="629079" cy="489496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400" b="1" i="0" smtClean="0">
                <a:solidFill>
                  <a:schemeClr val="accent1"/>
                </a:solidFill>
                <a:latin typeface="+mj-lt"/>
                <a:ea typeface="Bebas Neue Bold" charset="0"/>
                <a:cs typeface="Bebas Neue Bold" charset="0"/>
              </a:rPr>
              <a:pPr algn="ctr"/>
              <a:t>‹#›</a:t>
            </a:fld>
            <a:endParaRPr lang="en-US" sz="1400" b="1" i="0">
              <a:solidFill>
                <a:schemeClr val="accent1"/>
              </a:solidFill>
              <a:latin typeface="+mj-lt"/>
              <a:ea typeface="Bebas Neue Bold" charset="0"/>
              <a:cs typeface="Bebas Neue Bold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D6C09F4-0977-7F4B-A73A-3E7FF13B3030}"/>
              </a:ext>
            </a:extLst>
          </p:cNvPr>
          <p:cNvGrpSpPr/>
          <p:nvPr userDrawn="1"/>
        </p:nvGrpSpPr>
        <p:grpSpPr>
          <a:xfrm>
            <a:off x="0" y="0"/>
            <a:ext cx="786983" cy="786983"/>
            <a:chOff x="0" y="0"/>
            <a:chExt cx="786983" cy="78698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4DB8871-A195-3944-A7E8-64945D56E235}"/>
                </a:ext>
              </a:extLst>
            </p:cNvPr>
            <p:cNvSpPr/>
            <p:nvPr userDrawn="1"/>
          </p:nvSpPr>
          <p:spPr>
            <a:xfrm>
              <a:off x="0" y="0"/>
              <a:ext cx="786983" cy="78698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spc="300">
                <a:latin typeface="linea-basic-10" charset="0"/>
                <a:ea typeface="linea-basic-10" charset="0"/>
                <a:cs typeface="linea-basic-10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7DB2FB8-8CAF-FE48-89E0-CCD31492743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94028" y="155747"/>
              <a:ext cx="398926" cy="47548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EE23C24-18E2-4C4A-B9CE-8F2D95D4DF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0600" y="1113959"/>
            <a:ext cx="9616440" cy="928201"/>
          </a:xfrm>
          <a:prstGeom prst="rect">
            <a:avLst/>
          </a:prstGeom>
        </p:spPr>
        <p:txBody>
          <a:bodyPr/>
          <a:lstStyle>
            <a:lvl1pPr>
              <a:defRPr sz="4800" baseline="0">
                <a:solidFill>
                  <a:schemeClr val="accent1"/>
                </a:solidFill>
                <a:latin typeface="TeleNeo Office ExtraBold" panose="020B0504040202090203" pitchFamily="34" charset="77"/>
              </a:defRPr>
            </a:lvl1pPr>
          </a:lstStyle>
          <a:p>
            <a:r>
              <a:rPr lang="en-US"/>
              <a:t>Title Highlight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F3326127-ECF9-FF47-B5E9-AD240FE840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60362" y="2535611"/>
            <a:ext cx="4067836" cy="3819524"/>
          </a:xfrm>
          <a:prstGeom prst="rect">
            <a:avLst/>
          </a:prstGeom>
        </p:spPr>
        <p:txBody>
          <a:bodyPr lIns="0"/>
          <a:lstStyle>
            <a:lvl1pPr marL="285750" indent="-285750">
              <a:buFont typeface="Arial" panose="020B0604020202020204" pitchFamily="34" charset="0"/>
              <a:buChar char="•"/>
              <a:defRPr sz="1400" b="0" i="0">
                <a:solidFill>
                  <a:schemeClr val="tx1"/>
                </a:solidFill>
                <a:latin typeface="TeleNeo Office" panose="020B0504040202090203" pitchFamily="34" charset="77"/>
              </a:defRPr>
            </a:lvl1pPr>
            <a:lvl2pPr marL="466725" indent="-173038">
              <a:buClrTx/>
              <a:buFont typeface="System Font Regular"/>
              <a:buChar char="–"/>
              <a:tabLst/>
              <a:defRPr sz="1400" b="0" i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2pPr>
            <a:lvl3pPr marL="293688" indent="-293688" algn="l">
              <a:tabLst/>
              <a:defRPr sz="1400" b="0" i="0" spc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3pPr>
            <a:lvl4pPr marL="461963" indent="-166688">
              <a:buFont typeface="System Font Regular"/>
              <a:buChar char="–"/>
              <a:tabLst/>
              <a:defRPr baseline="0">
                <a:solidFill>
                  <a:schemeClr val="tx1"/>
                </a:solidFill>
                <a:latin typeface="TeleNeo Office" panose="020B0504040202090203" pitchFamily="34" charset="77"/>
              </a:defRPr>
            </a:lvl4pPr>
            <a:lvl5pPr marL="628650" indent="-166688">
              <a:buFont typeface="System Font Regular"/>
              <a:buChar char="-"/>
              <a:tabLst/>
              <a:defRPr sz="1400" baseline="0">
                <a:solidFill>
                  <a:schemeClr val="tx1"/>
                </a:solidFill>
                <a:latin typeface="TeleNeo" panose="020B0504040202090203" pitchFamily="34" charset="0"/>
              </a:defRPr>
            </a:lvl5pPr>
            <a:lvl6pPr marL="801688" indent="-173038">
              <a:buFont typeface="System Font Regular"/>
              <a:buChar char="-"/>
              <a:tabLst/>
              <a:defRPr sz="1400" baseline="0">
                <a:latin typeface="TeleNeo Office" panose="020B0504040202090203" pitchFamily="34" charset="77"/>
              </a:defRPr>
            </a:lvl6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Kfdofksdfmdskl</a:t>
            </a:r>
            <a:endParaRPr lang="en-US"/>
          </a:p>
          <a:p>
            <a:pPr lvl="1"/>
            <a:r>
              <a:rPr lang="en-US" err="1"/>
              <a:t>Rrjewrjlwe</a:t>
            </a:r>
            <a:endParaRPr lang="en-US"/>
          </a:p>
          <a:p>
            <a:pPr lvl="1"/>
            <a:r>
              <a:rPr lang="en-US" err="1"/>
              <a:t>Ddkadl</a:t>
            </a:r>
            <a:endParaRPr lang="en-US"/>
          </a:p>
          <a:p>
            <a:pPr lvl="4"/>
            <a:r>
              <a:rPr lang="en-US" err="1"/>
              <a:t>Jddsalad</a:t>
            </a:r>
            <a:endParaRPr lang="en-US"/>
          </a:p>
          <a:p>
            <a:pPr lvl="5"/>
            <a:r>
              <a:rPr lang="en-US" err="1"/>
              <a:t>Ffifsojo</a:t>
            </a:r>
            <a:endParaRPr lang="en-US"/>
          </a:p>
          <a:p>
            <a:pPr lvl="2"/>
            <a:r>
              <a:rPr lang="en-US" err="1"/>
              <a:t>Ffjdsfklsmes</a:t>
            </a:r>
            <a:endParaRPr lang="en-US"/>
          </a:p>
          <a:p>
            <a:pPr lvl="3"/>
            <a:r>
              <a:rPr lang="en-US" err="1"/>
              <a:t>Djfdskla</a:t>
            </a:r>
            <a:endParaRPr lang="en-US"/>
          </a:p>
          <a:p>
            <a:pPr lvl="4"/>
            <a:r>
              <a:rPr lang="en-US" err="1"/>
              <a:t>Jdskla</a:t>
            </a:r>
            <a:endParaRPr lang="en-US"/>
          </a:p>
          <a:p>
            <a:pPr lvl="5"/>
            <a:r>
              <a:rPr lang="en-US" err="1"/>
              <a:t>ddjsklas</a:t>
            </a:r>
            <a:endParaRPr lang="en-US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1058B6B0-F4AB-354E-8F14-48C5819E30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90600" y="2535611"/>
            <a:ext cx="4067836" cy="3819524"/>
          </a:xfrm>
          <a:prstGeom prst="rect">
            <a:avLst/>
          </a:prstGeom>
        </p:spPr>
        <p:txBody>
          <a:bodyPr lIns="0"/>
          <a:lstStyle>
            <a:lvl1pPr marL="285750" indent="-285750">
              <a:buFont typeface="Arial" panose="020B0604020202020204" pitchFamily="34" charset="0"/>
              <a:buChar char="•"/>
              <a:defRPr sz="1400" b="0" i="0">
                <a:solidFill>
                  <a:schemeClr val="tx1"/>
                </a:solidFill>
                <a:latin typeface="TeleNeo Office" panose="020B0504040202090203" pitchFamily="34" charset="77"/>
              </a:defRPr>
            </a:lvl1pPr>
            <a:lvl2pPr marL="466725" indent="-173038">
              <a:buClrTx/>
              <a:buFont typeface="System Font Regular"/>
              <a:buChar char="–"/>
              <a:tabLst/>
              <a:defRPr sz="1400" b="0" i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2pPr>
            <a:lvl3pPr marL="293688" indent="-293688" algn="l">
              <a:tabLst/>
              <a:defRPr sz="1400" b="0" i="0" spc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3pPr>
            <a:lvl4pPr marL="461963" indent="-166688">
              <a:buFont typeface="System Font Regular"/>
              <a:buChar char="–"/>
              <a:tabLst/>
              <a:defRPr baseline="0">
                <a:solidFill>
                  <a:schemeClr val="tx1"/>
                </a:solidFill>
                <a:latin typeface="TeleNeo Office" panose="020B0504040202090203" pitchFamily="34" charset="77"/>
              </a:defRPr>
            </a:lvl4pPr>
            <a:lvl5pPr marL="628650" indent="-166688">
              <a:buFont typeface="System Font Regular"/>
              <a:buChar char="-"/>
              <a:tabLst/>
              <a:defRPr sz="1400" baseline="0">
                <a:solidFill>
                  <a:schemeClr val="tx1"/>
                </a:solidFill>
                <a:latin typeface="TeleNeo" panose="020B0504040202090203" pitchFamily="34" charset="0"/>
              </a:defRPr>
            </a:lvl5pPr>
            <a:lvl6pPr marL="801688" indent="-173038">
              <a:buFont typeface="System Font Regular"/>
              <a:buChar char="-"/>
              <a:tabLst/>
              <a:defRPr sz="1400" baseline="0">
                <a:latin typeface="TeleNeo Office" panose="020B0504040202090203" pitchFamily="34" charset="77"/>
              </a:defRPr>
            </a:lvl6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Kfdofksdfmdskl</a:t>
            </a:r>
            <a:endParaRPr lang="en-US"/>
          </a:p>
          <a:p>
            <a:pPr lvl="1"/>
            <a:r>
              <a:rPr lang="en-US" err="1"/>
              <a:t>Rrjewrjlwe</a:t>
            </a:r>
            <a:endParaRPr lang="en-US"/>
          </a:p>
          <a:p>
            <a:pPr lvl="1"/>
            <a:r>
              <a:rPr lang="en-US" err="1"/>
              <a:t>Ddkadl</a:t>
            </a:r>
            <a:endParaRPr lang="en-US"/>
          </a:p>
          <a:p>
            <a:pPr lvl="4"/>
            <a:r>
              <a:rPr lang="en-US" err="1"/>
              <a:t>Jddsalad</a:t>
            </a:r>
            <a:endParaRPr lang="en-US"/>
          </a:p>
          <a:p>
            <a:pPr lvl="5"/>
            <a:r>
              <a:rPr lang="en-US" err="1"/>
              <a:t>Ffifsojo</a:t>
            </a:r>
            <a:endParaRPr lang="en-US"/>
          </a:p>
          <a:p>
            <a:pPr lvl="2"/>
            <a:r>
              <a:rPr lang="en-US" err="1"/>
              <a:t>Ffjdsfklsmes</a:t>
            </a:r>
            <a:endParaRPr lang="en-US"/>
          </a:p>
          <a:p>
            <a:pPr lvl="3"/>
            <a:r>
              <a:rPr lang="en-US" err="1"/>
              <a:t>Djfdskla</a:t>
            </a:r>
            <a:endParaRPr lang="en-US"/>
          </a:p>
          <a:p>
            <a:pPr lvl="4"/>
            <a:r>
              <a:rPr lang="en-US" err="1"/>
              <a:t>Jdskla</a:t>
            </a:r>
            <a:endParaRPr lang="en-US"/>
          </a:p>
          <a:p>
            <a:pPr lvl="5"/>
            <a:r>
              <a:rPr lang="en-US" err="1"/>
              <a:t>ddjskla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06881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-Layouts_2-Column-Magent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ction Divider">
            <a:extLst>
              <a:ext uri="{FF2B5EF4-FFF2-40B4-BE49-F238E27FC236}">
                <a16:creationId xmlns:a16="http://schemas.microsoft.com/office/drawing/2014/main" id="{1292A5B7-F392-A34A-96F9-A0251BC247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2638" y="1124119"/>
            <a:ext cx="8178800" cy="94775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lang="en-US" sz="4800" b="1" kern="1200" baseline="0" dirty="0">
                <a:solidFill>
                  <a:schemeClr val="bg1"/>
                </a:solidFill>
                <a:latin typeface="TeleNeo Office ExtraBold" panose="020B0504040202090203" pitchFamily="34" charset="77"/>
                <a:ea typeface="Roboto Light" charset="0"/>
                <a:cs typeface="Roboto Light" charset="0"/>
              </a:defRPr>
            </a:lvl1pPr>
            <a:lvl2pPr marL="457200" indent="0">
              <a:buNone/>
              <a:defRPr/>
            </a:lvl2pPr>
          </a:lstStyle>
          <a:p>
            <a:pPr marL="0" lvl="0" algn="l" defTabSz="914400" rtl="0" eaLnBrk="1" latinLnBrk="0" hangingPunct="1">
              <a:lnSpc>
                <a:spcPct val="80000"/>
              </a:lnSpc>
            </a:pPr>
            <a:r>
              <a:rPr lang="en-US"/>
              <a:t>Title Highligh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C31BE3F-80BB-DE49-9F4E-3054F0C7C104}"/>
              </a:ext>
            </a:extLst>
          </p:cNvPr>
          <p:cNvSpPr txBox="1">
            <a:spLocks/>
          </p:cNvSpPr>
          <p:nvPr userDrawn="1"/>
        </p:nvSpPr>
        <p:spPr>
          <a:xfrm>
            <a:off x="78952" y="6361009"/>
            <a:ext cx="629079" cy="489496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400" b="1" i="0" smtClean="0">
                <a:solidFill>
                  <a:schemeClr val="bg1"/>
                </a:solidFill>
                <a:latin typeface="+mj-lt"/>
                <a:ea typeface="Bebas Neue Bold" charset="0"/>
                <a:cs typeface="Bebas Neue Bold" charset="0"/>
              </a:rPr>
              <a:pPr algn="ctr"/>
              <a:t>‹#›</a:t>
            </a:fld>
            <a:endParaRPr lang="en-US" sz="1400" b="1" i="0">
              <a:solidFill>
                <a:schemeClr val="bg1"/>
              </a:solidFill>
              <a:latin typeface="+mj-lt"/>
              <a:ea typeface="Bebas Neue Bold" charset="0"/>
              <a:cs typeface="Bebas Neue Bold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B7AC9E1-5393-6548-A60B-9058B65340F4}"/>
              </a:ext>
            </a:extLst>
          </p:cNvPr>
          <p:cNvGrpSpPr/>
          <p:nvPr userDrawn="1"/>
        </p:nvGrpSpPr>
        <p:grpSpPr>
          <a:xfrm>
            <a:off x="0" y="0"/>
            <a:ext cx="786983" cy="786983"/>
            <a:chOff x="0" y="0"/>
            <a:chExt cx="786983" cy="786983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505BBE0-2049-A246-92D1-04BEBE76769B}"/>
                </a:ext>
              </a:extLst>
            </p:cNvPr>
            <p:cNvSpPr/>
            <p:nvPr/>
          </p:nvSpPr>
          <p:spPr>
            <a:xfrm>
              <a:off x="0" y="0"/>
              <a:ext cx="786983" cy="7869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spc="300">
                <a:latin typeface="linea-basic-10" charset="0"/>
                <a:ea typeface="linea-basic-10" charset="0"/>
                <a:cs typeface="linea-basic-10" charset="0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794ABAEB-019E-4144-A030-D00F2CEB3C2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94028" y="155747"/>
              <a:ext cx="398926" cy="475488"/>
            </a:xfrm>
            <a:prstGeom prst="rect">
              <a:avLst/>
            </a:prstGeom>
          </p:spPr>
        </p:pic>
      </p:grp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ECAA9D04-2264-054D-A647-CC05BB98DE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2638" y="2596571"/>
            <a:ext cx="4067836" cy="3819524"/>
          </a:xfrm>
          <a:prstGeom prst="rect">
            <a:avLst/>
          </a:prstGeom>
        </p:spPr>
        <p:txBody>
          <a:bodyPr lIns="0"/>
          <a:lstStyle>
            <a:lvl1pPr marL="285750" indent="-285750">
              <a:buFont typeface="Arial" panose="020B0604020202020204" pitchFamily="34" charset="0"/>
              <a:buChar char="•"/>
              <a:defRPr sz="1400" b="0" i="0">
                <a:solidFill>
                  <a:schemeClr val="bg1"/>
                </a:solidFill>
                <a:latin typeface="TeleNeo Office" panose="020B0504040202090203" pitchFamily="34" charset="77"/>
              </a:defRPr>
            </a:lvl1pPr>
            <a:lvl2pPr marL="466725" indent="-173038">
              <a:buClrTx/>
              <a:buFont typeface="System Font Regular"/>
              <a:buChar char="–"/>
              <a:tabLst/>
              <a:defRPr sz="1400" b="0" i="0" baseline="0">
                <a:solidFill>
                  <a:schemeClr val="bg1"/>
                </a:solidFill>
                <a:latin typeface="TeleNeo Office" panose="020B0504040202090203" pitchFamily="34" charset="77"/>
              </a:defRPr>
            </a:lvl2pPr>
            <a:lvl3pPr marL="293688" indent="-293688" algn="l">
              <a:tabLst/>
              <a:defRPr sz="1400" b="0" i="0" spc="0" baseline="0">
                <a:solidFill>
                  <a:schemeClr val="bg1"/>
                </a:solidFill>
                <a:latin typeface="TeleNeo Office" panose="020B0504040202090203" pitchFamily="34" charset="77"/>
              </a:defRPr>
            </a:lvl3pPr>
            <a:lvl4pPr marL="461963" indent="-166688">
              <a:buFont typeface="System Font Regular"/>
              <a:buChar char="–"/>
              <a:tabLst/>
              <a:defRPr baseline="0">
                <a:solidFill>
                  <a:schemeClr val="bg1"/>
                </a:solidFill>
                <a:latin typeface="TeleNeo Office" panose="020B0504040202090203" pitchFamily="34" charset="77"/>
              </a:defRPr>
            </a:lvl4pPr>
            <a:lvl5pPr marL="628650" indent="-166688">
              <a:buFont typeface="System Font Regular"/>
              <a:buChar char="-"/>
              <a:tabLst/>
              <a:defRPr sz="1400" baseline="0">
                <a:solidFill>
                  <a:schemeClr val="bg1"/>
                </a:solidFill>
                <a:latin typeface="TeleNeo" panose="020B0504040202090203" pitchFamily="34" charset="0"/>
              </a:defRPr>
            </a:lvl5pPr>
            <a:lvl6pPr marL="801688" indent="-173038">
              <a:buFont typeface="System Font Regular"/>
              <a:buChar char="-"/>
              <a:tabLst/>
              <a:defRPr sz="1400" baseline="0">
                <a:solidFill>
                  <a:schemeClr val="bg1"/>
                </a:solidFill>
                <a:latin typeface="TeleNeo Office" panose="020B0504040202090203" pitchFamily="34" charset="77"/>
              </a:defRPr>
            </a:lvl6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Kfdofksdfmdskl</a:t>
            </a:r>
            <a:endParaRPr lang="en-US"/>
          </a:p>
          <a:p>
            <a:pPr lvl="1"/>
            <a:r>
              <a:rPr lang="en-US" err="1"/>
              <a:t>Rrjewrjlwe</a:t>
            </a:r>
            <a:endParaRPr lang="en-US"/>
          </a:p>
          <a:p>
            <a:pPr lvl="1"/>
            <a:r>
              <a:rPr lang="en-US" err="1"/>
              <a:t>Ddkadl</a:t>
            </a:r>
            <a:endParaRPr lang="en-US"/>
          </a:p>
          <a:p>
            <a:pPr lvl="4"/>
            <a:r>
              <a:rPr lang="en-US" err="1"/>
              <a:t>Jddsalad</a:t>
            </a:r>
            <a:endParaRPr lang="en-US"/>
          </a:p>
          <a:p>
            <a:pPr lvl="5"/>
            <a:r>
              <a:rPr lang="en-US" err="1"/>
              <a:t>Ffifsojo</a:t>
            </a:r>
            <a:endParaRPr lang="en-US"/>
          </a:p>
          <a:p>
            <a:pPr lvl="2"/>
            <a:r>
              <a:rPr lang="en-US" err="1"/>
              <a:t>Ffjdsfklsmes</a:t>
            </a:r>
            <a:endParaRPr lang="en-US"/>
          </a:p>
          <a:p>
            <a:pPr lvl="3"/>
            <a:r>
              <a:rPr lang="en-US" err="1"/>
              <a:t>Djfdskla</a:t>
            </a:r>
            <a:endParaRPr lang="en-US"/>
          </a:p>
          <a:p>
            <a:pPr lvl="4"/>
            <a:r>
              <a:rPr lang="en-US" err="1"/>
              <a:t>Jdskla</a:t>
            </a:r>
            <a:endParaRPr lang="en-US"/>
          </a:p>
          <a:p>
            <a:pPr lvl="5"/>
            <a:r>
              <a:rPr lang="en-US" err="1"/>
              <a:t>ddjsklas</a:t>
            </a:r>
            <a:endParaRPr lang="en-US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A034122-D5EC-2D42-8722-D09A6611797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98158" y="2596571"/>
            <a:ext cx="4067836" cy="3819524"/>
          </a:xfrm>
          <a:prstGeom prst="rect">
            <a:avLst/>
          </a:prstGeom>
        </p:spPr>
        <p:txBody>
          <a:bodyPr lIns="0"/>
          <a:lstStyle>
            <a:lvl1pPr marL="285750" indent="-285750">
              <a:buFont typeface="Arial" panose="020B0604020202020204" pitchFamily="34" charset="0"/>
              <a:buChar char="•"/>
              <a:defRPr sz="1400" b="0" i="0">
                <a:solidFill>
                  <a:schemeClr val="bg1"/>
                </a:solidFill>
                <a:latin typeface="TeleNeo Office" panose="020B0504040202090203" pitchFamily="34" charset="77"/>
              </a:defRPr>
            </a:lvl1pPr>
            <a:lvl2pPr marL="466725" indent="-173038">
              <a:buClrTx/>
              <a:buFont typeface="System Font Regular"/>
              <a:buChar char="–"/>
              <a:tabLst/>
              <a:defRPr sz="1400" b="0" i="0" baseline="0">
                <a:solidFill>
                  <a:schemeClr val="bg1"/>
                </a:solidFill>
                <a:latin typeface="TeleNeo Office" panose="020B0504040202090203" pitchFamily="34" charset="77"/>
              </a:defRPr>
            </a:lvl2pPr>
            <a:lvl3pPr marL="293688" indent="-293688" algn="l">
              <a:tabLst/>
              <a:defRPr sz="1400" b="0" i="0" spc="0" baseline="0">
                <a:solidFill>
                  <a:schemeClr val="bg1"/>
                </a:solidFill>
                <a:latin typeface="TeleNeo Office" panose="020B0504040202090203" pitchFamily="34" charset="77"/>
              </a:defRPr>
            </a:lvl3pPr>
            <a:lvl4pPr marL="461963" indent="-166688">
              <a:buFont typeface="System Font Regular"/>
              <a:buChar char="–"/>
              <a:tabLst/>
              <a:defRPr baseline="0">
                <a:solidFill>
                  <a:schemeClr val="bg1"/>
                </a:solidFill>
                <a:latin typeface="TeleNeo Office" panose="020B0504040202090203" pitchFamily="34" charset="77"/>
              </a:defRPr>
            </a:lvl4pPr>
            <a:lvl5pPr marL="628650" indent="-166688">
              <a:buFont typeface="System Font Regular"/>
              <a:buChar char="-"/>
              <a:tabLst/>
              <a:defRPr sz="1400" baseline="0">
                <a:solidFill>
                  <a:schemeClr val="bg1"/>
                </a:solidFill>
                <a:latin typeface="TeleNeo" panose="020B0504040202090203" pitchFamily="34" charset="0"/>
              </a:defRPr>
            </a:lvl5pPr>
            <a:lvl6pPr marL="801688" indent="-173038">
              <a:buFont typeface="System Font Regular"/>
              <a:buChar char="-"/>
              <a:tabLst/>
              <a:defRPr sz="1400" baseline="0">
                <a:solidFill>
                  <a:schemeClr val="bg1"/>
                </a:solidFill>
                <a:latin typeface="TeleNeo Office" panose="020B0504040202090203" pitchFamily="34" charset="77"/>
              </a:defRPr>
            </a:lvl6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Kfdofksdfmdskl</a:t>
            </a:r>
            <a:endParaRPr lang="en-US"/>
          </a:p>
          <a:p>
            <a:pPr lvl="1"/>
            <a:r>
              <a:rPr lang="en-US" err="1"/>
              <a:t>Rrjewrjlwe</a:t>
            </a:r>
            <a:endParaRPr lang="en-US"/>
          </a:p>
          <a:p>
            <a:pPr lvl="1"/>
            <a:r>
              <a:rPr lang="en-US" err="1"/>
              <a:t>Ddkadl</a:t>
            </a:r>
            <a:endParaRPr lang="en-US"/>
          </a:p>
          <a:p>
            <a:pPr lvl="4"/>
            <a:r>
              <a:rPr lang="en-US" err="1"/>
              <a:t>Jddsalad</a:t>
            </a:r>
            <a:endParaRPr lang="en-US"/>
          </a:p>
          <a:p>
            <a:pPr lvl="5"/>
            <a:r>
              <a:rPr lang="en-US" err="1"/>
              <a:t>Ffifsojo</a:t>
            </a:r>
            <a:endParaRPr lang="en-US"/>
          </a:p>
          <a:p>
            <a:pPr lvl="2"/>
            <a:r>
              <a:rPr lang="en-US" err="1"/>
              <a:t>Ffjdsfklsmes</a:t>
            </a:r>
            <a:endParaRPr lang="en-US"/>
          </a:p>
          <a:p>
            <a:pPr lvl="3"/>
            <a:r>
              <a:rPr lang="en-US" err="1"/>
              <a:t>Djfdskla</a:t>
            </a:r>
            <a:endParaRPr lang="en-US"/>
          </a:p>
          <a:p>
            <a:pPr lvl="4"/>
            <a:r>
              <a:rPr lang="en-US" err="1"/>
              <a:t>Jdskla</a:t>
            </a:r>
            <a:endParaRPr lang="en-US"/>
          </a:p>
          <a:p>
            <a:pPr lvl="5"/>
            <a:r>
              <a:rPr lang="en-US" err="1"/>
              <a:t>ddjskla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37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45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-Layouts_2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6095999" y="3059084"/>
            <a:ext cx="5103813" cy="2944048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DC89BBE5-7688-E34A-8A2A-5CA1B36E6D95}"/>
              </a:ext>
            </a:extLst>
          </p:cNvPr>
          <p:cNvSpPr txBox="1">
            <a:spLocks/>
          </p:cNvSpPr>
          <p:nvPr userDrawn="1"/>
        </p:nvSpPr>
        <p:spPr>
          <a:xfrm>
            <a:off x="78952" y="6361009"/>
            <a:ext cx="629079" cy="489496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400" b="1" i="0" smtClean="0">
                <a:solidFill>
                  <a:schemeClr val="accent1"/>
                </a:solidFill>
                <a:latin typeface="+mj-lt"/>
                <a:ea typeface="Bebas Neue Bold" charset="0"/>
                <a:cs typeface="Bebas Neue Bold" charset="0"/>
              </a:rPr>
              <a:pPr algn="ctr"/>
              <a:t>‹#›</a:t>
            </a:fld>
            <a:endParaRPr lang="en-US" sz="1400" b="1" i="0">
              <a:solidFill>
                <a:schemeClr val="accent1"/>
              </a:solidFill>
              <a:latin typeface="+mj-lt"/>
              <a:ea typeface="Bebas Neue Bold" charset="0"/>
              <a:cs typeface="Bebas Neue Bold" charset="0"/>
            </a:endParaRP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B36E8C79-C42F-1F46-BBF9-F2497C91EC2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0600" y="3059084"/>
            <a:ext cx="5103813" cy="2944048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431537D-013D-DF47-97CC-AFDBFCA230E0}"/>
              </a:ext>
            </a:extLst>
          </p:cNvPr>
          <p:cNvCxnSpPr/>
          <p:nvPr userDrawn="1"/>
        </p:nvCxnSpPr>
        <p:spPr>
          <a:xfrm>
            <a:off x="977809" y="3040904"/>
            <a:ext cx="2041415" cy="0"/>
          </a:xfrm>
          <a:prstGeom prst="line">
            <a:avLst/>
          </a:prstGeom>
          <a:ln w="38100">
            <a:solidFill>
              <a:srgbClr val="E200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ection Divider">
            <a:extLst>
              <a:ext uri="{FF2B5EF4-FFF2-40B4-BE49-F238E27FC236}">
                <a16:creationId xmlns:a16="http://schemas.microsoft.com/office/drawing/2014/main" id="{63539A77-BB76-6F4C-A5B0-E33AE1D1D8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2638" y="1124119"/>
            <a:ext cx="8178800" cy="717248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TeleNeo Office ExtraBold" panose="020B0504040202090203" pitchFamily="34" charset="77"/>
                <a:ea typeface="Roboto Light" charset="0"/>
                <a:cs typeface="Roboto Light" charset="0"/>
              </a:defRPr>
            </a:lvl1pPr>
            <a:lvl2pPr marL="457200" indent="0">
              <a:buNone/>
              <a:defRPr/>
            </a:lvl2pPr>
          </a:lstStyle>
          <a:p>
            <a:pPr marL="0" lvl="0" algn="l" defTabSz="914400" rtl="0" eaLnBrk="1" latinLnBrk="0" hangingPunct="1">
              <a:lnSpc>
                <a:spcPct val="80000"/>
              </a:lnSpc>
            </a:pPr>
            <a:r>
              <a:rPr lang="en-US"/>
              <a:t>Title Highlight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19E6761C-B1D5-524D-B5C1-8A0F7849B4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2638" y="2156539"/>
            <a:ext cx="8155650" cy="644534"/>
          </a:xfrm>
          <a:prstGeom prst="rect">
            <a:avLst/>
          </a:prstGeom>
        </p:spPr>
        <p:txBody>
          <a:bodyPr lIns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TeleNeo Office Medium" panose="020B0504040202090203" pitchFamily="34" charset="77"/>
              </a:defRPr>
            </a:lvl1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.</a:t>
            </a:r>
          </a:p>
          <a:p>
            <a:pPr lvl="0"/>
            <a:r>
              <a:rPr lang="en-US"/>
              <a:t> 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C7F5682-541B-F34B-999B-D7EC4673422B}"/>
              </a:ext>
            </a:extLst>
          </p:cNvPr>
          <p:cNvGrpSpPr/>
          <p:nvPr userDrawn="1"/>
        </p:nvGrpSpPr>
        <p:grpSpPr>
          <a:xfrm>
            <a:off x="0" y="0"/>
            <a:ext cx="786983" cy="786983"/>
            <a:chOff x="0" y="0"/>
            <a:chExt cx="786983" cy="78698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094FE5-CED7-8340-87EB-86A29C29056A}"/>
                </a:ext>
              </a:extLst>
            </p:cNvPr>
            <p:cNvSpPr/>
            <p:nvPr userDrawn="1"/>
          </p:nvSpPr>
          <p:spPr>
            <a:xfrm>
              <a:off x="0" y="0"/>
              <a:ext cx="786983" cy="78698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spc="300">
                <a:latin typeface="linea-basic-10" charset="0"/>
                <a:ea typeface="linea-basic-10" charset="0"/>
                <a:cs typeface="linea-basic-10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A20E46B9-8533-0346-A389-D7497617FD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94028" y="155747"/>
              <a:ext cx="398926" cy="4754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28753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-Layouts_Text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FCAB2AE-A3D6-7347-89A8-D0A2F0DC9FD4}"/>
              </a:ext>
            </a:extLst>
          </p:cNvPr>
          <p:cNvSpPr/>
          <p:nvPr userDrawn="1"/>
        </p:nvSpPr>
        <p:spPr>
          <a:xfrm>
            <a:off x="0" y="0"/>
            <a:ext cx="5071466" cy="6858000"/>
          </a:xfrm>
          <a:prstGeom prst="rect">
            <a:avLst/>
          </a:prstGeom>
          <a:solidFill>
            <a:schemeClr val="tx1">
              <a:alpha val="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3D72CF1-7415-594E-87A3-587EEB2D360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81855" y="2655463"/>
            <a:ext cx="3742545" cy="3819524"/>
          </a:xfrm>
          <a:prstGeom prst="rect">
            <a:avLst/>
          </a:prstGeom>
        </p:spPr>
        <p:txBody>
          <a:bodyPr lIns="0"/>
          <a:lstStyle>
            <a:lvl1pPr marL="285750" indent="-285750">
              <a:buFont typeface="Arial" panose="020B0604020202020204" pitchFamily="34" charset="0"/>
              <a:buChar char="•"/>
              <a:defRPr sz="1400" b="0" i="0">
                <a:solidFill>
                  <a:schemeClr val="tx1"/>
                </a:solidFill>
                <a:latin typeface="TeleNeo Office" panose="020B0504040202090203" pitchFamily="34" charset="77"/>
              </a:defRPr>
            </a:lvl1pPr>
            <a:lvl2pPr marL="466725" indent="-173038">
              <a:buClrTx/>
              <a:buFont typeface="System Font Regular"/>
              <a:buChar char="–"/>
              <a:tabLst/>
              <a:defRPr sz="1400" b="0" i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2pPr>
            <a:lvl3pPr marL="293688" indent="-293688" algn="l">
              <a:tabLst/>
              <a:defRPr sz="1400" b="0" i="0" spc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3pPr>
            <a:lvl4pPr marL="461963" indent="-166688">
              <a:buFont typeface="System Font Regular"/>
              <a:buChar char="–"/>
              <a:tabLst/>
              <a:defRPr baseline="0">
                <a:solidFill>
                  <a:schemeClr val="tx1"/>
                </a:solidFill>
                <a:latin typeface="TeleNeo Office" panose="020B0504040202090203" pitchFamily="34" charset="77"/>
              </a:defRPr>
            </a:lvl4pPr>
            <a:lvl5pPr marL="628650" indent="-166688">
              <a:buFont typeface="System Font Regular"/>
              <a:buChar char="-"/>
              <a:tabLst/>
              <a:defRPr sz="1400" baseline="0">
                <a:solidFill>
                  <a:schemeClr val="tx1"/>
                </a:solidFill>
                <a:latin typeface="TeleNeo" panose="020B0504040202090203" pitchFamily="34" charset="0"/>
              </a:defRPr>
            </a:lvl5pPr>
            <a:lvl6pPr marL="801688" indent="-173038">
              <a:buFont typeface="System Font Regular"/>
              <a:buChar char="-"/>
              <a:tabLst/>
              <a:defRPr sz="1400" baseline="0">
                <a:latin typeface="TeleNeo Office" panose="020B0504040202090203" pitchFamily="34" charset="77"/>
              </a:defRPr>
            </a:lvl6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Kfdofksdfmdskl</a:t>
            </a:r>
            <a:endParaRPr lang="en-US"/>
          </a:p>
          <a:p>
            <a:pPr lvl="1"/>
            <a:r>
              <a:rPr lang="en-US" err="1"/>
              <a:t>Rrjewrjlwe</a:t>
            </a:r>
            <a:endParaRPr lang="en-US"/>
          </a:p>
          <a:p>
            <a:pPr lvl="1"/>
            <a:r>
              <a:rPr lang="en-US" err="1"/>
              <a:t>Ddkadl</a:t>
            </a:r>
            <a:endParaRPr lang="en-US"/>
          </a:p>
          <a:p>
            <a:pPr lvl="4"/>
            <a:r>
              <a:rPr lang="en-US" err="1"/>
              <a:t>Jddsalad</a:t>
            </a:r>
            <a:endParaRPr lang="en-US"/>
          </a:p>
          <a:p>
            <a:pPr lvl="5"/>
            <a:r>
              <a:rPr lang="en-US" err="1"/>
              <a:t>Ffifsojo</a:t>
            </a:r>
            <a:endParaRPr lang="en-US"/>
          </a:p>
          <a:p>
            <a:pPr lvl="2"/>
            <a:r>
              <a:rPr lang="en-US" err="1"/>
              <a:t>Ffjdsfklsmes</a:t>
            </a:r>
            <a:endParaRPr lang="en-US"/>
          </a:p>
          <a:p>
            <a:pPr lvl="3"/>
            <a:r>
              <a:rPr lang="en-US" err="1"/>
              <a:t>Djfdskla</a:t>
            </a:r>
            <a:endParaRPr lang="en-US"/>
          </a:p>
          <a:p>
            <a:pPr lvl="4"/>
            <a:r>
              <a:rPr lang="en-US" err="1"/>
              <a:t>Jdskla</a:t>
            </a:r>
            <a:endParaRPr lang="en-US"/>
          </a:p>
          <a:p>
            <a:pPr lvl="5"/>
            <a:r>
              <a:rPr lang="en-US" err="1"/>
              <a:t>ddjsklas</a:t>
            </a:r>
            <a:endParaRPr lang="en-US"/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AD85F8B8-7FEA-CD41-A9FE-644E89B2151F}"/>
              </a:ext>
            </a:extLst>
          </p:cNvPr>
          <p:cNvSpPr txBox="1">
            <a:spLocks/>
          </p:cNvSpPr>
          <p:nvPr userDrawn="1"/>
        </p:nvSpPr>
        <p:spPr>
          <a:xfrm>
            <a:off x="78952" y="6361009"/>
            <a:ext cx="629079" cy="489496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400" b="1" i="0" smtClean="0">
                <a:solidFill>
                  <a:srgbClr val="E20074"/>
                </a:solidFill>
                <a:latin typeface="+mj-lt"/>
                <a:ea typeface="Bebas Neue Bold" charset="0"/>
                <a:cs typeface="Bebas Neue Bold" charset="0"/>
              </a:rPr>
              <a:pPr algn="ctr"/>
              <a:t>‹#›</a:t>
            </a:fld>
            <a:endParaRPr lang="en-US" sz="1400" b="1" i="0">
              <a:solidFill>
                <a:srgbClr val="E20074"/>
              </a:solidFill>
              <a:latin typeface="+mj-lt"/>
              <a:ea typeface="Bebas Neue Bold" charset="0"/>
              <a:cs typeface="Bebas Neue Bold" charset="0"/>
            </a:endParaRPr>
          </a:p>
        </p:txBody>
      </p:sp>
      <p:sp>
        <p:nvSpPr>
          <p:cNvPr id="9" name="Title 23">
            <a:extLst>
              <a:ext uri="{FF2B5EF4-FFF2-40B4-BE49-F238E27FC236}">
                <a16:creationId xmlns:a16="http://schemas.microsoft.com/office/drawing/2014/main" id="{2C350198-13F7-1D4E-BAEE-42B6A6B78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1855" y="1124119"/>
            <a:ext cx="3462823" cy="717248"/>
          </a:xfrm>
          <a:prstGeom prst="rect">
            <a:avLst/>
          </a:prstGeom>
        </p:spPr>
        <p:txBody>
          <a:bodyPr wrap="square" lIns="0" anchor="t" anchorCtr="0">
            <a:spAutoFit/>
          </a:bodyPr>
          <a:lstStyle>
            <a:lvl1pPr>
              <a:lnSpc>
                <a:spcPct val="80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8" name="Subtext">
            <a:extLst>
              <a:ext uri="{FF2B5EF4-FFF2-40B4-BE49-F238E27FC236}">
                <a16:creationId xmlns:a16="http://schemas.microsoft.com/office/drawing/2014/main" id="{9F3BC46D-55AC-834B-A8B1-05896F9702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1855" y="1765526"/>
            <a:ext cx="2455863" cy="248530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lang="en-US" sz="1200" b="1" kern="1200" spc="300" dirty="0">
                <a:solidFill>
                  <a:schemeClr val="tx1"/>
                </a:solidFill>
                <a:latin typeface="TeleNeo Office ExtraBold" panose="020B0504040202090203" pitchFamily="34" charset="77"/>
                <a:ea typeface="Bebas Neue Bold" charset="0"/>
                <a:cs typeface="Bebas Neue Bold" charset="0"/>
              </a:defRPr>
            </a:lvl1pPr>
          </a:lstStyle>
          <a:p>
            <a:pPr marL="0" lvl="0" algn="l" defTabSz="914400" rtl="0" eaLnBrk="1" latinLnBrk="0" hangingPunct="1">
              <a:lnSpc>
                <a:spcPct val="80000"/>
              </a:lnSpc>
            </a:pPr>
            <a:r>
              <a:rPr lang="en-US"/>
              <a:t>SUBTEXT</a:t>
            </a:r>
          </a:p>
        </p:txBody>
      </p:sp>
      <p:pic>
        <p:nvPicPr>
          <p:cNvPr id="19" name="Picture Placeholder 2" descr="A picture containing sky, person, outdoor&#10;&#10;Description automatically generated">
            <a:extLst>
              <a:ext uri="{FF2B5EF4-FFF2-40B4-BE49-F238E27FC236}">
                <a16:creationId xmlns:a16="http://schemas.microsoft.com/office/drawing/2014/main" id="{B83FF132-813B-484C-B98C-1336BADCD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71466" y="861933"/>
            <a:ext cx="6134416" cy="5141199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737402F9-41A6-CD40-BF8A-DCB7B553BAB3}"/>
              </a:ext>
            </a:extLst>
          </p:cNvPr>
          <p:cNvGrpSpPr/>
          <p:nvPr userDrawn="1"/>
        </p:nvGrpSpPr>
        <p:grpSpPr>
          <a:xfrm>
            <a:off x="0" y="0"/>
            <a:ext cx="786983" cy="786983"/>
            <a:chOff x="0" y="0"/>
            <a:chExt cx="786983" cy="786983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66E8AC3-0D25-E04D-93EF-F7B9904DFBD1}"/>
                </a:ext>
              </a:extLst>
            </p:cNvPr>
            <p:cNvSpPr/>
            <p:nvPr userDrawn="1"/>
          </p:nvSpPr>
          <p:spPr>
            <a:xfrm>
              <a:off x="0" y="0"/>
              <a:ext cx="786983" cy="78698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spc="300">
                <a:latin typeface="linea-basic-10" charset="0"/>
                <a:ea typeface="linea-basic-10" charset="0"/>
                <a:cs typeface="linea-basic-10" charset="0"/>
              </a:endParaRP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6108192-D57D-4940-9062-2716E01114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94028" y="155747"/>
              <a:ext cx="398926" cy="4754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70225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-Layouts_Text-Image_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FCAB2AE-A3D6-7347-89A8-D0A2F0DC9FD4}"/>
              </a:ext>
            </a:extLst>
          </p:cNvPr>
          <p:cNvSpPr/>
          <p:nvPr userDrawn="1"/>
        </p:nvSpPr>
        <p:spPr>
          <a:xfrm>
            <a:off x="0" y="0"/>
            <a:ext cx="507146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3A960827-0349-E24C-8778-AF82D62C49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81855" y="2655463"/>
            <a:ext cx="3742545" cy="3819524"/>
          </a:xfrm>
          <a:prstGeom prst="rect">
            <a:avLst/>
          </a:prstGeom>
        </p:spPr>
        <p:txBody>
          <a:bodyPr lIns="0"/>
          <a:lstStyle>
            <a:lvl1pPr marL="285750" indent="-285750">
              <a:buFont typeface="Arial" panose="020B0604020202020204" pitchFamily="34" charset="0"/>
              <a:buChar char="•"/>
              <a:defRPr sz="1400" b="0" i="0">
                <a:solidFill>
                  <a:schemeClr val="bg1"/>
                </a:solidFill>
                <a:latin typeface="TeleNeo Office" panose="020B0504040202090203" pitchFamily="34" charset="77"/>
              </a:defRPr>
            </a:lvl1pPr>
            <a:lvl2pPr marL="466725" indent="-173038">
              <a:buClrTx/>
              <a:buFont typeface="System Font Regular"/>
              <a:buChar char="–"/>
              <a:tabLst/>
              <a:defRPr sz="1400" b="0" i="0" baseline="0">
                <a:solidFill>
                  <a:schemeClr val="bg1"/>
                </a:solidFill>
                <a:latin typeface="TeleNeo Office" panose="020B0504040202090203" pitchFamily="34" charset="77"/>
              </a:defRPr>
            </a:lvl2pPr>
            <a:lvl3pPr marL="293688" indent="-293688" algn="l">
              <a:tabLst/>
              <a:defRPr sz="1400" b="0" i="0" spc="0" baseline="0">
                <a:solidFill>
                  <a:schemeClr val="bg1"/>
                </a:solidFill>
                <a:latin typeface="TeleNeo Office" panose="020B0504040202090203" pitchFamily="34" charset="77"/>
              </a:defRPr>
            </a:lvl3pPr>
            <a:lvl4pPr marL="461963" indent="-166688">
              <a:buFont typeface="System Font Regular"/>
              <a:buChar char="–"/>
              <a:tabLst/>
              <a:defRPr baseline="0">
                <a:solidFill>
                  <a:schemeClr val="bg1"/>
                </a:solidFill>
                <a:latin typeface="TeleNeo Office" panose="020B0504040202090203" pitchFamily="34" charset="77"/>
              </a:defRPr>
            </a:lvl4pPr>
            <a:lvl5pPr marL="628650" indent="-166688">
              <a:buFont typeface="System Font Regular"/>
              <a:buChar char="-"/>
              <a:tabLst/>
              <a:defRPr sz="1400" baseline="0">
                <a:solidFill>
                  <a:schemeClr val="bg1"/>
                </a:solidFill>
                <a:latin typeface="TeleNeo" panose="020B0504040202090203" pitchFamily="34" charset="0"/>
              </a:defRPr>
            </a:lvl5pPr>
            <a:lvl6pPr marL="801688" indent="-173038">
              <a:buFont typeface="System Font Regular"/>
              <a:buChar char="-"/>
              <a:tabLst/>
              <a:defRPr sz="1400" baseline="0">
                <a:solidFill>
                  <a:schemeClr val="bg1"/>
                </a:solidFill>
                <a:latin typeface="TeleNeo Office" panose="020B0504040202090203" pitchFamily="34" charset="77"/>
              </a:defRPr>
            </a:lvl6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Kfdofksdfmdskl</a:t>
            </a:r>
            <a:endParaRPr lang="en-US"/>
          </a:p>
          <a:p>
            <a:pPr lvl="1"/>
            <a:r>
              <a:rPr lang="en-US" err="1"/>
              <a:t>Rrjewrjlwe</a:t>
            </a:r>
            <a:endParaRPr lang="en-US"/>
          </a:p>
          <a:p>
            <a:pPr lvl="1"/>
            <a:r>
              <a:rPr lang="en-US" err="1"/>
              <a:t>Ddkadl</a:t>
            </a:r>
            <a:endParaRPr lang="en-US"/>
          </a:p>
          <a:p>
            <a:pPr lvl="4"/>
            <a:r>
              <a:rPr lang="en-US" err="1"/>
              <a:t>Jddsalad</a:t>
            </a:r>
            <a:endParaRPr lang="en-US"/>
          </a:p>
          <a:p>
            <a:pPr lvl="5"/>
            <a:r>
              <a:rPr lang="en-US" err="1"/>
              <a:t>Ffifsojo</a:t>
            </a:r>
            <a:endParaRPr lang="en-US"/>
          </a:p>
          <a:p>
            <a:pPr lvl="2"/>
            <a:r>
              <a:rPr lang="en-US" err="1"/>
              <a:t>Ffjdsfklsmes</a:t>
            </a:r>
            <a:endParaRPr lang="en-US"/>
          </a:p>
          <a:p>
            <a:pPr lvl="3"/>
            <a:r>
              <a:rPr lang="en-US" err="1"/>
              <a:t>Djfdskla</a:t>
            </a:r>
            <a:endParaRPr lang="en-US"/>
          </a:p>
          <a:p>
            <a:pPr lvl="4"/>
            <a:r>
              <a:rPr lang="en-US" err="1"/>
              <a:t>Jdskla</a:t>
            </a:r>
            <a:endParaRPr lang="en-US"/>
          </a:p>
          <a:p>
            <a:pPr lvl="5"/>
            <a:r>
              <a:rPr lang="en-US" err="1"/>
              <a:t>ddjsklas</a:t>
            </a:r>
            <a:endParaRPr lang="en-US"/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AD85F8B8-7FEA-CD41-A9FE-644E89B2151F}"/>
              </a:ext>
            </a:extLst>
          </p:cNvPr>
          <p:cNvSpPr txBox="1">
            <a:spLocks/>
          </p:cNvSpPr>
          <p:nvPr userDrawn="1"/>
        </p:nvSpPr>
        <p:spPr>
          <a:xfrm>
            <a:off x="78952" y="6361009"/>
            <a:ext cx="629079" cy="489496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400" b="1" i="0" smtClean="0">
                <a:solidFill>
                  <a:schemeClr val="bg1"/>
                </a:solidFill>
                <a:latin typeface="+mj-lt"/>
                <a:ea typeface="Bebas Neue Bold" charset="0"/>
                <a:cs typeface="Bebas Neue Bold" charset="0"/>
              </a:rPr>
              <a:pPr algn="ctr"/>
              <a:t>‹#›</a:t>
            </a:fld>
            <a:endParaRPr lang="en-US" sz="1400" b="1" i="0">
              <a:solidFill>
                <a:schemeClr val="bg1"/>
              </a:solidFill>
              <a:latin typeface="+mj-lt"/>
              <a:ea typeface="Bebas Neue Bold" charset="0"/>
              <a:cs typeface="Bebas Neue Bold" charset="0"/>
            </a:endParaRPr>
          </a:p>
        </p:txBody>
      </p:sp>
      <p:sp>
        <p:nvSpPr>
          <p:cNvPr id="18" name="Subtext">
            <a:extLst>
              <a:ext uri="{FF2B5EF4-FFF2-40B4-BE49-F238E27FC236}">
                <a16:creationId xmlns:a16="http://schemas.microsoft.com/office/drawing/2014/main" id="{9F3BC46D-55AC-834B-A8B1-05896F9702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1855" y="1765526"/>
            <a:ext cx="2455863" cy="248530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lang="en-US" sz="1200" b="1" kern="1200" spc="300" dirty="0">
                <a:solidFill>
                  <a:schemeClr val="bg1"/>
                </a:solidFill>
                <a:latin typeface="TeleNeo Office ExtraBold" panose="020B0504040202090203" pitchFamily="34" charset="77"/>
                <a:ea typeface="Bebas Neue Bold" charset="0"/>
                <a:cs typeface="Bebas Neue Bold" charset="0"/>
              </a:defRPr>
            </a:lvl1pPr>
          </a:lstStyle>
          <a:p>
            <a:pPr marL="0" lvl="0" algn="l" defTabSz="914400" rtl="0" eaLnBrk="1" latinLnBrk="0" hangingPunct="1">
              <a:lnSpc>
                <a:spcPct val="80000"/>
              </a:lnSpc>
            </a:pPr>
            <a:r>
              <a:rPr lang="en-US"/>
              <a:t>SUBTEXT</a:t>
            </a:r>
          </a:p>
        </p:txBody>
      </p:sp>
      <p:pic>
        <p:nvPicPr>
          <p:cNvPr id="19" name="Picture Placeholder 2" descr="A picture containing sky, person, outdoor&#10;&#10;Description automatically generated">
            <a:extLst>
              <a:ext uri="{FF2B5EF4-FFF2-40B4-BE49-F238E27FC236}">
                <a16:creationId xmlns:a16="http://schemas.microsoft.com/office/drawing/2014/main" id="{B83FF132-813B-484C-B98C-1336BADCD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71466" y="861933"/>
            <a:ext cx="6134416" cy="5141199"/>
          </a:xfrm>
          <a:prstGeom prst="rect">
            <a:avLst/>
          </a:prstGeom>
        </p:spPr>
      </p:pic>
      <p:sp>
        <p:nvSpPr>
          <p:cNvPr id="22" name="Title 23">
            <a:extLst>
              <a:ext uri="{FF2B5EF4-FFF2-40B4-BE49-F238E27FC236}">
                <a16:creationId xmlns:a16="http://schemas.microsoft.com/office/drawing/2014/main" id="{DFB36F33-DD46-604C-97E4-C11A9410B7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1855" y="1124119"/>
            <a:ext cx="3462823" cy="717248"/>
          </a:xfrm>
          <a:prstGeom prst="rect">
            <a:avLst/>
          </a:prstGeom>
        </p:spPr>
        <p:txBody>
          <a:bodyPr wrap="square" lIns="0" anchor="t" anchorCtr="0">
            <a:spAutoFit/>
          </a:bodyPr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E86E4C9-3DE1-3548-A4FF-6D2667D4654F}"/>
              </a:ext>
            </a:extLst>
          </p:cNvPr>
          <p:cNvGrpSpPr/>
          <p:nvPr userDrawn="1"/>
        </p:nvGrpSpPr>
        <p:grpSpPr>
          <a:xfrm>
            <a:off x="0" y="0"/>
            <a:ext cx="786983" cy="786983"/>
            <a:chOff x="0" y="0"/>
            <a:chExt cx="786983" cy="786983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E450A1E-BC49-8A4C-A155-2DE868FAF45F}"/>
                </a:ext>
              </a:extLst>
            </p:cNvPr>
            <p:cNvSpPr/>
            <p:nvPr/>
          </p:nvSpPr>
          <p:spPr>
            <a:xfrm>
              <a:off x="0" y="0"/>
              <a:ext cx="786983" cy="7869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spc="300">
                <a:latin typeface="linea-basic-10" charset="0"/>
                <a:ea typeface="linea-basic-10" charset="0"/>
                <a:cs typeface="linea-basic-10" charset="0"/>
              </a:endParaRP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C1096176-196F-D844-9268-25D763D1EF0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94028" y="155747"/>
              <a:ext cx="398926" cy="4754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1439433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-Layouts_Text-Image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3026661" y="0"/>
            <a:ext cx="9161075" cy="6858000"/>
          </a:xfrm>
          <a:prstGeom prst="rect">
            <a:avLst/>
          </a:prstGeom>
          <a:solidFill>
            <a:schemeClr val="tx1">
              <a:alpha val="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89246FD5-4041-1746-9B60-94CF126A1D63}"/>
              </a:ext>
            </a:extLst>
          </p:cNvPr>
          <p:cNvSpPr txBox="1">
            <a:spLocks/>
          </p:cNvSpPr>
          <p:nvPr userDrawn="1"/>
        </p:nvSpPr>
        <p:spPr>
          <a:xfrm>
            <a:off x="78952" y="6361009"/>
            <a:ext cx="629079" cy="489496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400" b="1" i="0" smtClean="0">
                <a:solidFill>
                  <a:srgbClr val="E20074"/>
                </a:solidFill>
                <a:latin typeface="+mj-lt"/>
                <a:ea typeface="Bebas Neue Bold" charset="0"/>
                <a:cs typeface="Bebas Neue Bold" charset="0"/>
              </a:rPr>
              <a:pPr algn="ctr"/>
              <a:t>‹#›</a:t>
            </a:fld>
            <a:endParaRPr lang="en-US" sz="1400" b="1" i="0">
              <a:solidFill>
                <a:srgbClr val="E20074"/>
              </a:solidFill>
              <a:latin typeface="+mj-lt"/>
              <a:ea typeface="Bebas Neue Bold" charset="0"/>
              <a:cs typeface="Bebas Neue Bold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889DF83-AE66-7043-BBA4-24C9476AE3E1}"/>
              </a:ext>
            </a:extLst>
          </p:cNvPr>
          <p:cNvCxnSpPr>
            <a:cxnSpLocks/>
          </p:cNvCxnSpPr>
          <p:nvPr userDrawn="1"/>
        </p:nvCxnSpPr>
        <p:spPr>
          <a:xfrm>
            <a:off x="7114478" y="2475632"/>
            <a:ext cx="572429" cy="0"/>
          </a:xfrm>
          <a:prstGeom prst="line">
            <a:avLst/>
          </a:prstGeom>
          <a:ln w="38100">
            <a:solidFill>
              <a:srgbClr val="E200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23">
            <a:extLst>
              <a:ext uri="{FF2B5EF4-FFF2-40B4-BE49-F238E27FC236}">
                <a16:creationId xmlns:a16="http://schemas.microsoft.com/office/drawing/2014/main" id="{1AAB145D-0F36-7848-A33F-7CAA46367E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4478" y="1635512"/>
            <a:ext cx="3462823" cy="717248"/>
          </a:xfrm>
          <a:prstGeom prst="rect">
            <a:avLst/>
          </a:prstGeom>
        </p:spPr>
        <p:txBody>
          <a:bodyPr wrap="square" lIns="0" anchor="t" anchorCtr="0">
            <a:spAutoFit/>
          </a:bodyPr>
          <a:lstStyle>
            <a:lvl1pPr>
              <a:lnSpc>
                <a:spcPct val="80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18" name="Picture Placeholder 3" descr="A picture containing person, outdoor, tree, sky&#10;&#10;Description automatically generated">
            <a:extLst>
              <a:ext uri="{FF2B5EF4-FFF2-40B4-BE49-F238E27FC236}">
                <a16:creationId xmlns:a16="http://schemas.microsoft.com/office/drawing/2014/main" id="{0BB6D7DB-B73A-0243-8850-8A6DF3110E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854" y="861933"/>
            <a:ext cx="4089612" cy="5141199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C8D7C10F-77B6-554E-86EC-5E9F8557711A}"/>
              </a:ext>
            </a:extLst>
          </p:cNvPr>
          <p:cNvGrpSpPr/>
          <p:nvPr userDrawn="1"/>
        </p:nvGrpSpPr>
        <p:grpSpPr>
          <a:xfrm>
            <a:off x="0" y="0"/>
            <a:ext cx="786983" cy="786983"/>
            <a:chOff x="0" y="0"/>
            <a:chExt cx="786983" cy="78698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A0D9E11-A3D7-B040-99C1-88F9DF0138C3}"/>
                </a:ext>
              </a:extLst>
            </p:cNvPr>
            <p:cNvSpPr/>
            <p:nvPr userDrawn="1"/>
          </p:nvSpPr>
          <p:spPr>
            <a:xfrm>
              <a:off x="0" y="0"/>
              <a:ext cx="786983" cy="78698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spc="300">
                <a:latin typeface="linea-basic-10" charset="0"/>
                <a:ea typeface="linea-basic-10" charset="0"/>
                <a:cs typeface="linea-basic-10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AB05A90D-DC06-BE44-8E16-023491C593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94028" y="155747"/>
              <a:ext cx="398926" cy="475488"/>
            </a:xfrm>
            <a:prstGeom prst="rect">
              <a:avLst/>
            </a:prstGeom>
          </p:spPr>
        </p:pic>
      </p:grp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3CBC547C-8932-DB44-8CAC-ADF90E733D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14478" y="2652684"/>
            <a:ext cx="3742545" cy="3819524"/>
          </a:xfrm>
          <a:prstGeom prst="rect">
            <a:avLst/>
          </a:prstGeom>
        </p:spPr>
        <p:txBody>
          <a:bodyPr lIns="0"/>
          <a:lstStyle>
            <a:lvl1pPr marL="285750" indent="-285750">
              <a:buFont typeface="Arial" panose="020B0604020202020204" pitchFamily="34" charset="0"/>
              <a:buChar char="•"/>
              <a:defRPr sz="1400" b="0" i="0">
                <a:solidFill>
                  <a:schemeClr val="tx1"/>
                </a:solidFill>
                <a:latin typeface="TeleNeo Office" panose="020B0504040202090203" pitchFamily="34" charset="77"/>
              </a:defRPr>
            </a:lvl1pPr>
            <a:lvl2pPr marL="466725" indent="-173038">
              <a:buClrTx/>
              <a:buFont typeface="System Font Regular"/>
              <a:buChar char="–"/>
              <a:tabLst/>
              <a:defRPr sz="1400" b="0" i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2pPr>
            <a:lvl3pPr marL="293688" indent="-293688" algn="l">
              <a:tabLst/>
              <a:defRPr sz="1400" b="0" i="0" spc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3pPr>
            <a:lvl4pPr marL="461963" indent="-166688">
              <a:buFont typeface="System Font Regular"/>
              <a:buChar char="–"/>
              <a:tabLst/>
              <a:defRPr baseline="0">
                <a:solidFill>
                  <a:schemeClr val="tx1"/>
                </a:solidFill>
                <a:latin typeface="TeleNeo Office" panose="020B0504040202090203" pitchFamily="34" charset="77"/>
              </a:defRPr>
            </a:lvl4pPr>
            <a:lvl5pPr marL="628650" indent="-166688">
              <a:buFont typeface="System Font Regular"/>
              <a:buChar char="-"/>
              <a:tabLst/>
              <a:defRPr sz="1400" baseline="0">
                <a:solidFill>
                  <a:schemeClr val="tx1"/>
                </a:solidFill>
                <a:latin typeface="TeleNeo" panose="020B0504040202090203" pitchFamily="34" charset="0"/>
              </a:defRPr>
            </a:lvl5pPr>
            <a:lvl6pPr marL="801688" indent="-173038">
              <a:buFont typeface="System Font Regular"/>
              <a:buChar char="-"/>
              <a:tabLst/>
              <a:defRPr sz="1400" baseline="0">
                <a:latin typeface="TeleNeo Office" panose="020B0504040202090203" pitchFamily="34" charset="77"/>
              </a:defRPr>
            </a:lvl6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Kfdofksdfmdskl</a:t>
            </a:r>
            <a:endParaRPr lang="en-US"/>
          </a:p>
          <a:p>
            <a:pPr lvl="1"/>
            <a:r>
              <a:rPr lang="en-US" err="1"/>
              <a:t>Rrjewrjlwe</a:t>
            </a:r>
            <a:endParaRPr lang="en-US"/>
          </a:p>
          <a:p>
            <a:pPr lvl="1"/>
            <a:r>
              <a:rPr lang="en-US" err="1"/>
              <a:t>Ddkadl</a:t>
            </a:r>
            <a:endParaRPr lang="en-US"/>
          </a:p>
          <a:p>
            <a:pPr lvl="4"/>
            <a:r>
              <a:rPr lang="en-US" err="1"/>
              <a:t>Jddsalad</a:t>
            </a:r>
            <a:endParaRPr lang="en-US"/>
          </a:p>
          <a:p>
            <a:pPr lvl="5"/>
            <a:r>
              <a:rPr lang="en-US" err="1"/>
              <a:t>Ffifsojo</a:t>
            </a:r>
            <a:endParaRPr lang="en-US"/>
          </a:p>
          <a:p>
            <a:pPr lvl="2"/>
            <a:r>
              <a:rPr lang="en-US" err="1"/>
              <a:t>Ffjdsfklsmes</a:t>
            </a:r>
            <a:endParaRPr lang="en-US"/>
          </a:p>
          <a:p>
            <a:pPr lvl="3"/>
            <a:r>
              <a:rPr lang="en-US" err="1"/>
              <a:t>Djfdskla</a:t>
            </a:r>
            <a:endParaRPr lang="en-US"/>
          </a:p>
          <a:p>
            <a:pPr lvl="4"/>
            <a:r>
              <a:rPr lang="en-US" err="1"/>
              <a:t>Jdskla</a:t>
            </a:r>
            <a:endParaRPr lang="en-US"/>
          </a:p>
          <a:p>
            <a:pPr lvl="5"/>
            <a:r>
              <a:rPr lang="en-US" err="1"/>
              <a:t>ddjskla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21900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-Layouts_Text-Image-Right_On-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C5A0434-FAB0-BC43-BF17-0708C56DCC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81855" y="3224423"/>
            <a:ext cx="3742545" cy="3217014"/>
          </a:xfrm>
          <a:prstGeom prst="rect">
            <a:avLst/>
          </a:prstGeom>
        </p:spPr>
        <p:txBody>
          <a:bodyPr lIns="0"/>
          <a:lstStyle>
            <a:lvl1pPr marL="285750" indent="-285750">
              <a:buFont typeface="Arial" panose="020B0604020202020204" pitchFamily="34" charset="0"/>
              <a:buChar char="•"/>
              <a:defRPr sz="1400" b="0" i="0">
                <a:solidFill>
                  <a:schemeClr val="bg1"/>
                </a:solidFill>
                <a:latin typeface="TeleNeo Office" panose="020B0504040202090203" pitchFamily="34" charset="77"/>
              </a:defRPr>
            </a:lvl1pPr>
            <a:lvl2pPr marL="466725" indent="-173038">
              <a:buClrTx/>
              <a:buFont typeface="System Font Regular"/>
              <a:buChar char="–"/>
              <a:tabLst/>
              <a:defRPr sz="1400" b="0" i="0" baseline="0">
                <a:solidFill>
                  <a:schemeClr val="bg1"/>
                </a:solidFill>
                <a:latin typeface="TeleNeo Office" panose="020B0504040202090203" pitchFamily="34" charset="77"/>
              </a:defRPr>
            </a:lvl2pPr>
            <a:lvl3pPr marL="293688" indent="-293688" algn="l">
              <a:tabLst/>
              <a:defRPr sz="1400" b="0" i="0" spc="0" baseline="0">
                <a:solidFill>
                  <a:schemeClr val="bg1"/>
                </a:solidFill>
                <a:latin typeface="TeleNeo Office" panose="020B0504040202090203" pitchFamily="34" charset="77"/>
              </a:defRPr>
            </a:lvl3pPr>
            <a:lvl4pPr marL="461963" indent="-166688">
              <a:buFont typeface="System Font Regular"/>
              <a:buChar char="–"/>
              <a:tabLst/>
              <a:defRPr baseline="0">
                <a:solidFill>
                  <a:schemeClr val="bg1"/>
                </a:solidFill>
                <a:latin typeface="TeleNeo Office" panose="020B0504040202090203" pitchFamily="34" charset="77"/>
              </a:defRPr>
            </a:lvl4pPr>
            <a:lvl5pPr marL="628650" indent="-166688">
              <a:buFont typeface="System Font Regular"/>
              <a:buChar char="-"/>
              <a:tabLst/>
              <a:defRPr sz="1400" baseline="0">
                <a:solidFill>
                  <a:schemeClr val="bg1"/>
                </a:solidFill>
                <a:latin typeface="TeleNeo" panose="020B0504040202090203" pitchFamily="34" charset="0"/>
              </a:defRPr>
            </a:lvl5pPr>
            <a:lvl6pPr marL="801688" indent="-173038">
              <a:buFont typeface="System Font Regular"/>
              <a:buChar char="-"/>
              <a:tabLst/>
              <a:defRPr sz="1400" baseline="0">
                <a:solidFill>
                  <a:schemeClr val="bg1"/>
                </a:solidFill>
                <a:latin typeface="TeleNeo Office" panose="020B0504040202090203" pitchFamily="34" charset="77"/>
              </a:defRPr>
            </a:lvl6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Kfdofksdfmdskl</a:t>
            </a:r>
            <a:endParaRPr lang="en-US"/>
          </a:p>
          <a:p>
            <a:pPr lvl="1"/>
            <a:r>
              <a:rPr lang="en-US" err="1"/>
              <a:t>Rrjewrjlwe</a:t>
            </a:r>
            <a:endParaRPr lang="en-US"/>
          </a:p>
          <a:p>
            <a:pPr lvl="1"/>
            <a:r>
              <a:rPr lang="en-US" err="1"/>
              <a:t>Ddkadl</a:t>
            </a:r>
            <a:endParaRPr lang="en-US"/>
          </a:p>
          <a:p>
            <a:pPr lvl="4"/>
            <a:r>
              <a:rPr lang="en-US" err="1"/>
              <a:t>Jddsalad</a:t>
            </a:r>
            <a:endParaRPr lang="en-US"/>
          </a:p>
          <a:p>
            <a:pPr lvl="5"/>
            <a:r>
              <a:rPr lang="en-US" err="1"/>
              <a:t>Ffifsojo</a:t>
            </a:r>
            <a:endParaRPr lang="en-US"/>
          </a:p>
          <a:p>
            <a:pPr lvl="2"/>
            <a:r>
              <a:rPr lang="en-US" err="1"/>
              <a:t>Ffjdsfklsmes</a:t>
            </a:r>
            <a:endParaRPr lang="en-US"/>
          </a:p>
          <a:p>
            <a:pPr lvl="3"/>
            <a:r>
              <a:rPr lang="en-US" err="1"/>
              <a:t>Djfdskla</a:t>
            </a:r>
            <a:endParaRPr lang="en-US"/>
          </a:p>
          <a:p>
            <a:pPr lvl="4"/>
            <a:r>
              <a:rPr lang="en-US" err="1"/>
              <a:t>Jdskla</a:t>
            </a:r>
            <a:endParaRPr lang="en-US"/>
          </a:p>
          <a:p>
            <a:pPr lvl="5"/>
            <a:r>
              <a:rPr lang="en-US" err="1"/>
              <a:t>ddjsklas</a:t>
            </a:r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EAC0B04-AB88-7340-B48E-3E355AE8AF83}"/>
              </a:ext>
            </a:extLst>
          </p:cNvPr>
          <p:cNvSpPr txBox="1">
            <a:spLocks/>
          </p:cNvSpPr>
          <p:nvPr userDrawn="1"/>
        </p:nvSpPr>
        <p:spPr>
          <a:xfrm>
            <a:off x="78952" y="6361009"/>
            <a:ext cx="629079" cy="489496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400" b="1" i="0" smtClean="0">
                <a:solidFill>
                  <a:schemeClr val="bg1"/>
                </a:solidFill>
                <a:latin typeface="+mj-lt"/>
                <a:ea typeface="Bebas Neue Bold" charset="0"/>
                <a:cs typeface="Bebas Neue Bold" charset="0"/>
              </a:rPr>
              <a:pPr algn="ctr"/>
              <a:t>‹#›</a:t>
            </a:fld>
            <a:endParaRPr lang="en-US" sz="1400" b="1" i="0">
              <a:solidFill>
                <a:schemeClr val="bg1"/>
              </a:solidFill>
              <a:latin typeface="+mj-lt"/>
              <a:ea typeface="Bebas Neue Bold" charset="0"/>
              <a:cs typeface="Bebas Neue Bold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719FFE-30C9-D349-8852-0B15361907C0}"/>
              </a:ext>
            </a:extLst>
          </p:cNvPr>
          <p:cNvCxnSpPr>
            <a:cxnSpLocks/>
          </p:cNvCxnSpPr>
          <p:nvPr userDrawn="1"/>
        </p:nvCxnSpPr>
        <p:spPr>
          <a:xfrm>
            <a:off x="977311" y="2679793"/>
            <a:ext cx="572429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Placeholder 3" descr="A picture containing person, outdoor, ground, beach&#10;&#10;Description automatically generated">
            <a:extLst>
              <a:ext uri="{FF2B5EF4-FFF2-40B4-BE49-F238E27FC236}">
                <a16:creationId xmlns:a16="http://schemas.microsoft.com/office/drawing/2014/main" id="{0A12B0FB-3E5A-0041-B073-553CF52D39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71464" y="0"/>
            <a:ext cx="7120531" cy="6858000"/>
          </a:xfrm>
          <a:prstGeom prst="rect">
            <a:avLst/>
          </a:prstGeom>
        </p:spPr>
      </p:pic>
      <p:sp>
        <p:nvSpPr>
          <p:cNvPr id="20" name="Title 23">
            <a:extLst>
              <a:ext uri="{FF2B5EF4-FFF2-40B4-BE49-F238E27FC236}">
                <a16:creationId xmlns:a16="http://schemas.microsoft.com/office/drawing/2014/main" id="{5389FDE5-8D50-E74E-B81B-B56FC583F4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7311" y="1635512"/>
            <a:ext cx="3462823" cy="717248"/>
          </a:xfrm>
          <a:prstGeom prst="rect">
            <a:avLst/>
          </a:prstGeom>
        </p:spPr>
        <p:txBody>
          <a:bodyPr wrap="square" lIns="0" anchor="t" anchorCtr="0">
            <a:spAutoFit/>
          </a:bodyPr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9327A4A-9BB1-9341-B729-821D0CEF1798}"/>
              </a:ext>
            </a:extLst>
          </p:cNvPr>
          <p:cNvGrpSpPr/>
          <p:nvPr userDrawn="1"/>
        </p:nvGrpSpPr>
        <p:grpSpPr>
          <a:xfrm>
            <a:off x="0" y="0"/>
            <a:ext cx="786983" cy="786983"/>
            <a:chOff x="0" y="0"/>
            <a:chExt cx="786983" cy="78698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6572360-77CB-B44B-9D41-54FEAD82492B}"/>
                </a:ext>
              </a:extLst>
            </p:cNvPr>
            <p:cNvSpPr/>
            <p:nvPr/>
          </p:nvSpPr>
          <p:spPr>
            <a:xfrm>
              <a:off x="0" y="0"/>
              <a:ext cx="786983" cy="7869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spc="300">
                <a:latin typeface="linea-basic-10" charset="0"/>
                <a:ea typeface="linea-basic-10" charset="0"/>
                <a:cs typeface="linea-basic-10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7EA2C6F0-B80D-2341-B2C0-54343B13933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94028" y="155747"/>
              <a:ext cx="398926" cy="4754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0108513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-Layouts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Placeholder 20" descr="A picture containing table, indoor, wall, person&#10;&#10;Description automatically generated">
            <a:extLst>
              <a:ext uri="{FF2B5EF4-FFF2-40B4-BE49-F238E27FC236}">
                <a16:creationId xmlns:a16="http://schemas.microsoft.com/office/drawing/2014/main" id="{2242CC62-F691-7945-92BA-5FDF5BD93E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480" y="0"/>
            <a:ext cx="2044805" cy="1836295"/>
          </a:xfrm>
          <a:prstGeom prst="rect">
            <a:avLst/>
          </a:prstGeom>
        </p:spPr>
      </p:pic>
      <p:pic>
        <p:nvPicPr>
          <p:cNvPr id="23" name="Picture Placeholder 49" descr="A person and person standing in a field&#10;&#10;Description automatically generated with low confidence">
            <a:extLst>
              <a:ext uri="{FF2B5EF4-FFF2-40B4-BE49-F238E27FC236}">
                <a16:creationId xmlns:a16="http://schemas.microsoft.com/office/drawing/2014/main" id="{B049427C-875A-624C-8092-DD6396D323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480" y="1836295"/>
            <a:ext cx="2044805" cy="1836295"/>
          </a:xfrm>
          <a:prstGeom prst="rect">
            <a:avLst/>
          </a:prstGeom>
        </p:spPr>
      </p:pic>
      <p:pic>
        <p:nvPicPr>
          <p:cNvPr id="24" name="Picture Placeholder 51" descr="A group of people posing for a photo&#10;&#10;Description automatically generated with medium confidence">
            <a:extLst>
              <a:ext uri="{FF2B5EF4-FFF2-40B4-BE49-F238E27FC236}">
                <a16:creationId xmlns:a16="http://schemas.microsoft.com/office/drawing/2014/main" id="{549B0E37-43EE-8C4F-A2AD-AD9DBA5573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14326" y="1836295"/>
            <a:ext cx="2044805" cy="1836295"/>
          </a:xfrm>
          <a:prstGeom prst="rect">
            <a:avLst/>
          </a:prstGeom>
        </p:spPr>
      </p:pic>
      <p:pic>
        <p:nvPicPr>
          <p:cNvPr id="25" name="Picture Placeholder 24" descr="A picture containing person, indoor, computer&#10;&#10;Description automatically generated">
            <a:extLst>
              <a:ext uri="{FF2B5EF4-FFF2-40B4-BE49-F238E27FC236}">
                <a16:creationId xmlns:a16="http://schemas.microsoft.com/office/drawing/2014/main" id="{F24ACC56-8D77-2546-B332-79C49F9A57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9131" y="0"/>
            <a:ext cx="2044805" cy="1836295"/>
          </a:xfrm>
          <a:prstGeom prst="rect">
            <a:avLst/>
          </a:prstGeom>
        </p:spPr>
      </p:pic>
      <p:pic>
        <p:nvPicPr>
          <p:cNvPr id="26" name="Picture Placeholder 53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D2012B53-C677-B945-8BFD-31CA99696D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9131" y="1836295"/>
            <a:ext cx="2044805" cy="1836295"/>
          </a:xfrm>
          <a:prstGeom prst="rect">
            <a:avLst/>
          </a:prstGeom>
        </p:spPr>
      </p:pic>
      <p:pic>
        <p:nvPicPr>
          <p:cNvPr id="27" name="Picture Placeholder 5" descr="A group of people posing for a photo&#10;&#10;Description automatically generated with medium confidence">
            <a:extLst>
              <a:ext uri="{FF2B5EF4-FFF2-40B4-BE49-F238E27FC236}">
                <a16:creationId xmlns:a16="http://schemas.microsoft.com/office/drawing/2014/main" id="{3870FC4A-86B6-574D-A6F0-09600EF6D4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3936" y="0"/>
            <a:ext cx="2044805" cy="1836295"/>
          </a:xfrm>
          <a:prstGeom prst="rect">
            <a:avLst/>
          </a:prstGeom>
        </p:spPr>
      </p:pic>
      <p:pic>
        <p:nvPicPr>
          <p:cNvPr id="28" name="Picture Placeholder 55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A2E0CB6C-76E4-5F4B-9FE9-779142CD8E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3936" y="1836295"/>
            <a:ext cx="2044805" cy="1836295"/>
          </a:xfrm>
          <a:prstGeom prst="rect">
            <a:avLst/>
          </a:prstGeom>
        </p:spPr>
      </p:pic>
      <p:pic>
        <p:nvPicPr>
          <p:cNvPr id="29" name="Picture Placeholder 28">
            <a:extLst>
              <a:ext uri="{FF2B5EF4-FFF2-40B4-BE49-F238E27FC236}">
                <a16:creationId xmlns:a16="http://schemas.microsoft.com/office/drawing/2014/main" id="{C6F7F326-0C38-2C49-9195-D4EFC1A96D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8740" y="0"/>
            <a:ext cx="2044805" cy="1836295"/>
          </a:xfrm>
          <a:prstGeom prst="rect">
            <a:avLst/>
          </a:prstGeom>
        </p:spPr>
      </p:pic>
      <p:pic>
        <p:nvPicPr>
          <p:cNvPr id="30" name="Picture Placeholder 47" descr="A group of women sitting on a bench&#10;&#10;Description automatically generated with medium confidence">
            <a:extLst>
              <a:ext uri="{FF2B5EF4-FFF2-40B4-BE49-F238E27FC236}">
                <a16:creationId xmlns:a16="http://schemas.microsoft.com/office/drawing/2014/main" id="{97CAC2CD-75B8-9149-B9D1-DED0BD68F2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93548" y="0"/>
            <a:ext cx="2044805" cy="1836295"/>
          </a:xfrm>
          <a:prstGeom prst="rect">
            <a:avLst/>
          </a:prstGeom>
        </p:spPr>
      </p:pic>
      <p:pic>
        <p:nvPicPr>
          <p:cNvPr id="31" name="Picture Placeholder 10" descr="A picture containing outdoor, person, crowd&#10;&#10;Description automatically generated">
            <a:extLst>
              <a:ext uri="{FF2B5EF4-FFF2-40B4-BE49-F238E27FC236}">
                <a16:creationId xmlns:a16="http://schemas.microsoft.com/office/drawing/2014/main" id="{F945703C-6C1A-D342-8905-170B352AC0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148740" y="1836295"/>
            <a:ext cx="2044805" cy="1836295"/>
          </a:xfrm>
          <a:prstGeom prst="rect">
            <a:avLst/>
          </a:prstGeom>
        </p:spPr>
      </p:pic>
      <p:pic>
        <p:nvPicPr>
          <p:cNvPr id="32" name="Picture Placeholder 6">
            <a:extLst>
              <a:ext uri="{FF2B5EF4-FFF2-40B4-BE49-F238E27FC236}">
                <a16:creationId xmlns:a16="http://schemas.microsoft.com/office/drawing/2014/main" id="{D78ADB99-66BA-4149-A412-F8DDEFB9FD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193338" y="1836295"/>
            <a:ext cx="2044700" cy="1836738"/>
          </a:xfrm>
          <a:prstGeom prst="rect">
            <a:avLst/>
          </a:prstGeom>
        </p:spPr>
      </p:pic>
      <p:pic>
        <p:nvPicPr>
          <p:cNvPr id="33" name="Picture Placeholder 11" descr="A couple of women sitting at a table with food&#10;&#10;Description automatically generated with low confidence">
            <a:extLst>
              <a:ext uri="{FF2B5EF4-FFF2-40B4-BE49-F238E27FC236}">
                <a16:creationId xmlns:a16="http://schemas.microsoft.com/office/drawing/2014/main" id="{9DBC2B69-DB87-9542-8046-9D9D34C101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014538" y="-443"/>
            <a:ext cx="2044700" cy="1836738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4701253-D84B-424B-9D4F-BBB6E4723F8D}"/>
              </a:ext>
            </a:extLst>
          </p:cNvPr>
          <p:cNvCxnSpPr>
            <a:cxnSpLocks/>
          </p:cNvCxnSpPr>
          <p:nvPr/>
        </p:nvCxnSpPr>
        <p:spPr>
          <a:xfrm>
            <a:off x="3026659" y="4886712"/>
            <a:ext cx="343990" cy="0"/>
          </a:xfrm>
          <a:prstGeom prst="line">
            <a:avLst/>
          </a:prstGeom>
          <a:ln w="25400">
            <a:solidFill>
              <a:srgbClr val="E200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itle 23">
            <a:extLst>
              <a:ext uri="{FF2B5EF4-FFF2-40B4-BE49-F238E27FC236}">
                <a16:creationId xmlns:a16="http://schemas.microsoft.com/office/drawing/2014/main" id="{44E57321-5020-E449-88E0-AD8597A36B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9488" y="4179171"/>
            <a:ext cx="2047875" cy="717248"/>
          </a:xfrm>
          <a:prstGeom prst="rect">
            <a:avLst/>
          </a:prstGeom>
        </p:spPr>
        <p:txBody>
          <a:bodyPr wrap="square" lIns="0" anchor="t" anchorCtr="0">
            <a:spAutoFit/>
          </a:bodyPr>
          <a:lstStyle>
            <a:lvl1pPr>
              <a:lnSpc>
                <a:spcPct val="80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2348B009-998D-794E-B5CA-031D62518A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27363" y="5069108"/>
            <a:ext cx="3499914" cy="64299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latin typeface="TeleNeo Office" panose="020B0504040202090203" pitchFamily="34" charset="77"/>
              </a:defRPr>
            </a:lvl1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39" name="Subtext">
            <a:extLst>
              <a:ext uri="{FF2B5EF4-FFF2-40B4-BE49-F238E27FC236}">
                <a16:creationId xmlns:a16="http://schemas.microsoft.com/office/drawing/2014/main" id="{C3CFF7EE-EB71-0141-A2E2-8938E1055E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9488" y="4820578"/>
            <a:ext cx="1823673" cy="248530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lang="en-US" sz="1200" b="1" kern="1200" spc="300" dirty="0">
                <a:solidFill>
                  <a:schemeClr val="tx1"/>
                </a:solidFill>
                <a:latin typeface="TeleNeo Office ExtraBold" panose="020B0504040202090203" pitchFamily="34" charset="77"/>
                <a:ea typeface="Bebas Neue Bold" charset="0"/>
                <a:cs typeface="Bebas Neue Bold" charset="0"/>
              </a:defRPr>
            </a:lvl1pPr>
          </a:lstStyle>
          <a:p>
            <a:pPr marL="0" lvl="0" algn="l" defTabSz="914400" rtl="0" eaLnBrk="1" latinLnBrk="0" hangingPunct="1">
              <a:lnSpc>
                <a:spcPct val="80000"/>
              </a:lnSpc>
            </a:pPr>
            <a:r>
              <a:rPr lang="en-US"/>
              <a:t>SUBTEXT</a:t>
            </a:r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DE7A9276-8365-C745-9679-AA84949E88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27363" y="4174318"/>
            <a:ext cx="3499914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>
                <a:latin typeface="TeleNeo Office" panose="020B0504040202090203" pitchFamily="34" charset="77"/>
              </a:defRPr>
            </a:lvl1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br>
              <a:rPr lang="en-US"/>
            </a:b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9968AC5-4C33-7B4B-AA59-69F6B7E9FB46}"/>
              </a:ext>
            </a:extLst>
          </p:cNvPr>
          <p:cNvCxnSpPr>
            <a:cxnSpLocks/>
          </p:cNvCxnSpPr>
          <p:nvPr userDrawn="1"/>
        </p:nvCxnSpPr>
        <p:spPr>
          <a:xfrm>
            <a:off x="7114471" y="4886712"/>
            <a:ext cx="343990" cy="0"/>
          </a:xfrm>
          <a:prstGeom prst="line">
            <a:avLst/>
          </a:prstGeom>
          <a:ln w="25400">
            <a:solidFill>
              <a:srgbClr val="E200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 Placeholder 14">
            <a:extLst>
              <a:ext uri="{FF2B5EF4-FFF2-40B4-BE49-F238E27FC236}">
                <a16:creationId xmlns:a16="http://schemas.microsoft.com/office/drawing/2014/main" id="{89D4DE28-CF60-724C-A5B1-BA08B5392DD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14471" y="5069108"/>
            <a:ext cx="3499914" cy="64299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latin typeface="TeleNeo Office" panose="020B0504040202090203" pitchFamily="34" charset="77"/>
              </a:defRPr>
            </a:lvl1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46" name="Text Placeholder 14">
            <a:extLst>
              <a:ext uri="{FF2B5EF4-FFF2-40B4-BE49-F238E27FC236}">
                <a16:creationId xmlns:a16="http://schemas.microsoft.com/office/drawing/2014/main" id="{1F572C28-437E-FB47-A3A0-DDE2ABA0DD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14471" y="4174318"/>
            <a:ext cx="3499914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>
                <a:latin typeface="TeleNeo Office" panose="020B0504040202090203" pitchFamily="34" charset="77"/>
              </a:defRPr>
            </a:lvl1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br>
              <a:rPr lang="en-US"/>
            </a:b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34" name="Slide Number Placeholder 5">
            <a:extLst>
              <a:ext uri="{FF2B5EF4-FFF2-40B4-BE49-F238E27FC236}">
                <a16:creationId xmlns:a16="http://schemas.microsoft.com/office/drawing/2014/main" id="{E3F94BEA-CCA0-3740-9901-B503717393F4}"/>
              </a:ext>
            </a:extLst>
          </p:cNvPr>
          <p:cNvSpPr txBox="1">
            <a:spLocks/>
          </p:cNvSpPr>
          <p:nvPr userDrawn="1"/>
        </p:nvSpPr>
        <p:spPr>
          <a:xfrm>
            <a:off x="78952" y="6361009"/>
            <a:ext cx="629079" cy="489496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400" b="1" i="0" smtClean="0">
                <a:solidFill>
                  <a:srgbClr val="E20074"/>
                </a:solidFill>
                <a:latin typeface="+mj-lt"/>
                <a:ea typeface="Bebas Neue Bold" charset="0"/>
                <a:cs typeface="Bebas Neue Bold" charset="0"/>
              </a:rPr>
              <a:pPr algn="ctr"/>
              <a:t>‹#›</a:t>
            </a:fld>
            <a:endParaRPr lang="en-US" sz="1400" b="1" i="0">
              <a:solidFill>
                <a:srgbClr val="E20074"/>
              </a:solidFill>
              <a:latin typeface="+mj-lt"/>
              <a:ea typeface="Bebas Neue Bold" charset="0"/>
              <a:cs typeface="Bebas Neue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261704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-Pages_Magenta-Neon-Glow-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A4723750-F7B4-E14B-BD61-C134E772DB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81855" y="5788597"/>
            <a:ext cx="3127157" cy="248530"/>
          </a:xfrm>
          <a:prstGeom prst="rect">
            <a:avLst/>
          </a:prstGeom>
        </p:spPr>
        <p:txBody>
          <a:bodyPr lIns="0" tIns="45720" rIns="91440" bIns="45720">
            <a:spAutoFit/>
          </a:bodyPr>
          <a:lstStyle>
            <a:lvl1pPr marL="0" indent="0">
              <a:buNone/>
              <a:defRPr lang="en-US" sz="1200" b="1" kern="1200" spc="300" dirty="0">
                <a:solidFill>
                  <a:schemeClr val="bg1"/>
                </a:solidFill>
                <a:latin typeface="TeleNeo Office ExtraBold" panose="020B0504040202090203" pitchFamily="34" charset="77"/>
                <a:ea typeface="Bebas Neue Bold" charset="0"/>
                <a:cs typeface="Bebas Neue Bold" charset="0"/>
              </a:defRPr>
            </a:lvl1pPr>
            <a:lvl3pPr marL="914400" indent="0">
              <a:buNone/>
              <a:defRPr lang="en-US" sz="1200" b="1" kern="1200" spc="300" dirty="0">
                <a:solidFill>
                  <a:schemeClr val="bg1"/>
                </a:solidFill>
                <a:latin typeface="TeleNeo Office ExtraBold" panose="020B0504040202090203" pitchFamily="34" charset="77"/>
                <a:ea typeface="Bebas Neue Bold" charset="0"/>
                <a:cs typeface="Bebas Neue Bold" charset="0"/>
              </a:defRPr>
            </a:lvl3pPr>
          </a:lstStyle>
          <a:p>
            <a:pPr marL="0" lvl="0" algn="l" defTabSz="914400" rtl="0" eaLnBrk="1" latinLnBrk="0" hangingPunct="1">
              <a:lnSpc>
                <a:spcPct val="80000"/>
              </a:lnSpc>
            </a:pPr>
            <a:r>
              <a:rPr lang="en-US"/>
              <a:t>SUBTEXT</a:t>
            </a:r>
          </a:p>
        </p:txBody>
      </p:sp>
      <p:sp>
        <p:nvSpPr>
          <p:cNvPr id="8" name="Title 23">
            <a:extLst>
              <a:ext uri="{FF2B5EF4-FFF2-40B4-BE49-F238E27FC236}">
                <a16:creationId xmlns:a16="http://schemas.microsoft.com/office/drawing/2014/main" id="{2EEBB26B-B446-A040-BAFA-3352E9B168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1855" y="3993270"/>
            <a:ext cx="5983721" cy="1560833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>
              <a:lnSpc>
                <a:spcPct val="8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ver Page</a:t>
            </a:r>
            <a:br>
              <a:rPr lang="en-US"/>
            </a:br>
            <a:r>
              <a:rPr lang="en-US"/>
              <a:t>Text Highlight</a:t>
            </a:r>
          </a:p>
        </p:txBody>
      </p:sp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722AC4E3-D9AB-8948-A5D8-E4071ADA00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</a:blip>
          <a:srcRect r="1482"/>
          <a:stretch/>
        </p:blipFill>
        <p:spPr>
          <a:xfrm>
            <a:off x="6009454" y="338203"/>
            <a:ext cx="6182546" cy="6275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016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44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ext-Layouts_2-Column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46565AE-B975-A344-A26F-DA54B26F7769}"/>
              </a:ext>
            </a:extLst>
          </p:cNvPr>
          <p:cNvSpPr txBox="1">
            <a:spLocks/>
          </p:cNvSpPr>
          <p:nvPr userDrawn="1"/>
        </p:nvSpPr>
        <p:spPr>
          <a:xfrm>
            <a:off x="78952" y="6361009"/>
            <a:ext cx="629079" cy="489496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400" b="1" i="0" smtClean="0">
                <a:solidFill>
                  <a:schemeClr val="accent1"/>
                </a:solidFill>
                <a:latin typeface="+mj-lt"/>
                <a:ea typeface="Bebas Neue Bold" charset="0"/>
                <a:cs typeface="Bebas Neue Bold" charset="0"/>
              </a:rPr>
              <a:pPr algn="ctr"/>
              <a:t>‹#›</a:t>
            </a:fld>
            <a:endParaRPr lang="en-US" sz="1400" b="1" i="0">
              <a:solidFill>
                <a:schemeClr val="accent1"/>
              </a:solidFill>
              <a:latin typeface="+mj-lt"/>
              <a:ea typeface="Bebas Neue Bold" charset="0"/>
              <a:cs typeface="Bebas Neue Bold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D6C09F4-0977-7F4B-A73A-3E7FF13B3030}"/>
              </a:ext>
            </a:extLst>
          </p:cNvPr>
          <p:cNvGrpSpPr/>
          <p:nvPr userDrawn="1"/>
        </p:nvGrpSpPr>
        <p:grpSpPr>
          <a:xfrm>
            <a:off x="0" y="0"/>
            <a:ext cx="786983" cy="786983"/>
            <a:chOff x="0" y="0"/>
            <a:chExt cx="786983" cy="78698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4DB8871-A195-3944-A7E8-64945D56E235}"/>
                </a:ext>
              </a:extLst>
            </p:cNvPr>
            <p:cNvSpPr/>
            <p:nvPr userDrawn="1"/>
          </p:nvSpPr>
          <p:spPr>
            <a:xfrm>
              <a:off x="0" y="0"/>
              <a:ext cx="786983" cy="78698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spc="300">
                <a:latin typeface="linea-basic-10" charset="0"/>
                <a:ea typeface="linea-basic-10" charset="0"/>
                <a:cs typeface="linea-basic-10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7DB2FB8-8CAF-FE48-89E0-CCD31492743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94028" y="155747"/>
              <a:ext cx="398926" cy="47548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EE23C24-18E2-4C4A-B9CE-8F2D95D4DF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0600" y="1113959"/>
            <a:ext cx="9616440" cy="928201"/>
          </a:xfrm>
          <a:prstGeom prst="rect">
            <a:avLst/>
          </a:prstGeom>
        </p:spPr>
        <p:txBody>
          <a:bodyPr/>
          <a:lstStyle>
            <a:lvl1pPr>
              <a:defRPr sz="4800" baseline="0">
                <a:solidFill>
                  <a:schemeClr val="accent1"/>
                </a:solidFill>
                <a:latin typeface="TeleNeo Office ExtraBold" panose="020B0504040202090203" pitchFamily="34" charset="77"/>
              </a:defRPr>
            </a:lvl1pPr>
          </a:lstStyle>
          <a:p>
            <a:r>
              <a:rPr lang="en-US"/>
              <a:t>Title Highlight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F3326127-ECF9-FF47-B5E9-AD240FE840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60362" y="2535611"/>
            <a:ext cx="4067836" cy="3819524"/>
          </a:xfrm>
          <a:prstGeom prst="rect">
            <a:avLst/>
          </a:prstGeom>
        </p:spPr>
        <p:txBody>
          <a:bodyPr lIns="0"/>
          <a:lstStyle>
            <a:lvl1pPr marL="285750" indent="-285750">
              <a:buFont typeface="Arial" panose="020B0604020202020204" pitchFamily="34" charset="0"/>
              <a:buChar char="•"/>
              <a:defRPr sz="1400" b="0" i="0">
                <a:solidFill>
                  <a:schemeClr val="tx1"/>
                </a:solidFill>
                <a:latin typeface="TeleNeo Office" panose="020B0504040202090203" pitchFamily="34" charset="77"/>
              </a:defRPr>
            </a:lvl1pPr>
            <a:lvl2pPr marL="466725" indent="-173038">
              <a:buClrTx/>
              <a:buFont typeface="System Font Regular"/>
              <a:buChar char="–"/>
              <a:tabLst/>
              <a:defRPr sz="1400" b="0" i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2pPr>
            <a:lvl3pPr marL="293688" indent="-293688" algn="l">
              <a:tabLst/>
              <a:defRPr sz="1400" b="0" i="0" spc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3pPr>
            <a:lvl4pPr marL="461963" indent="-166688">
              <a:buFont typeface="System Font Regular"/>
              <a:buChar char="–"/>
              <a:tabLst/>
              <a:defRPr baseline="0">
                <a:solidFill>
                  <a:schemeClr val="tx1"/>
                </a:solidFill>
                <a:latin typeface="TeleNeo Office" panose="020B0504040202090203" pitchFamily="34" charset="77"/>
              </a:defRPr>
            </a:lvl4pPr>
            <a:lvl5pPr marL="628650" indent="-166688">
              <a:buFont typeface="System Font Regular"/>
              <a:buChar char="-"/>
              <a:tabLst/>
              <a:defRPr sz="1400" baseline="0">
                <a:solidFill>
                  <a:schemeClr val="tx1"/>
                </a:solidFill>
                <a:latin typeface="TeleNeo" panose="020B0504040202090203" pitchFamily="34" charset="0"/>
              </a:defRPr>
            </a:lvl5pPr>
            <a:lvl6pPr marL="801688" indent="-173038">
              <a:buFont typeface="System Font Regular"/>
              <a:buChar char="-"/>
              <a:tabLst/>
              <a:defRPr sz="1400" baseline="0">
                <a:latin typeface="TeleNeo Office" panose="020B0504040202090203" pitchFamily="34" charset="77"/>
              </a:defRPr>
            </a:lvl6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Kfdofksdfmdskl</a:t>
            </a:r>
            <a:endParaRPr lang="en-US"/>
          </a:p>
          <a:p>
            <a:pPr lvl="1"/>
            <a:r>
              <a:rPr lang="en-US" err="1"/>
              <a:t>Rrjewrjlwe</a:t>
            </a:r>
            <a:endParaRPr lang="en-US"/>
          </a:p>
          <a:p>
            <a:pPr lvl="1"/>
            <a:r>
              <a:rPr lang="en-US" err="1"/>
              <a:t>Ddkadl</a:t>
            </a:r>
            <a:endParaRPr lang="en-US"/>
          </a:p>
          <a:p>
            <a:pPr lvl="4"/>
            <a:r>
              <a:rPr lang="en-US" err="1"/>
              <a:t>Jddsalad</a:t>
            </a:r>
            <a:endParaRPr lang="en-US"/>
          </a:p>
          <a:p>
            <a:pPr lvl="5"/>
            <a:r>
              <a:rPr lang="en-US" err="1"/>
              <a:t>Ffifsojo</a:t>
            </a:r>
            <a:endParaRPr lang="en-US"/>
          </a:p>
          <a:p>
            <a:pPr lvl="2"/>
            <a:r>
              <a:rPr lang="en-US" err="1"/>
              <a:t>Ffjdsfklsmes</a:t>
            </a:r>
            <a:endParaRPr lang="en-US"/>
          </a:p>
          <a:p>
            <a:pPr lvl="3"/>
            <a:r>
              <a:rPr lang="en-US" err="1"/>
              <a:t>Djfdskla</a:t>
            </a:r>
            <a:endParaRPr lang="en-US"/>
          </a:p>
          <a:p>
            <a:pPr lvl="4"/>
            <a:r>
              <a:rPr lang="en-US" err="1"/>
              <a:t>Jdskla</a:t>
            </a:r>
            <a:endParaRPr lang="en-US"/>
          </a:p>
          <a:p>
            <a:pPr lvl="5"/>
            <a:r>
              <a:rPr lang="en-US" err="1"/>
              <a:t>ddjsklas</a:t>
            </a:r>
            <a:endParaRPr lang="en-US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1058B6B0-F4AB-354E-8F14-48C5819E30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90600" y="2535611"/>
            <a:ext cx="4067836" cy="3819524"/>
          </a:xfrm>
          <a:prstGeom prst="rect">
            <a:avLst/>
          </a:prstGeom>
        </p:spPr>
        <p:txBody>
          <a:bodyPr lIns="0"/>
          <a:lstStyle>
            <a:lvl1pPr marL="285750" indent="-285750">
              <a:buFont typeface="Arial" panose="020B0604020202020204" pitchFamily="34" charset="0"/>
              <a:buChar char="•"/>
              <a:defRPr sz="1400" b="0" i="0">
                <a:solidFill>
                  <a:schemeClr val="tx1"/>
                </a:solidFill>
                <a:latin typeface="TeleNeo Office" panose="020B0504040202090203" pitchFamily="34" charset="77"/>
              </a:defRPr>
            </a:lvl1pPr>
            <a:lvl2pPr marL="466725" indent="-173038">
              <a:buClrTx/>
              <a:buFont typeface="System Font Regular"/>
              <a:buChar char="–"/>
              <a:tabLst/>
              <a:defRPr sz="1400" b="0" i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2pPr>
            <a:lvl3pPr marL="293688" indent="-293688" algn="l">
              <a:tabLst/>
              <a:defRPr sz="1400" b="0" i="0" spc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3pPr>
            <a:lvl4pPr marL="461963" indent="-166688">
              <a:buFont typeface="System Font Regular"/>
              <a:buChar char="–"/>
              <a:tabLst/>
              <a:defRPr baseline="0">
                <a:solidFill>
                  <a:schemeClr val="tx1"/>
                </a:solidFill>
                <a:latin typeface="TeleNeo Office" panose="020B0504040202090203" pitchFamily="34" charset="77"/>
              </a:defRPr>
            </a:lvl4pPr>
            <a:lvl5pPr marL="628650" indent="-166688">
              <a:buFont typeface="System Font Regular"/>
              <a:buChar char="-"/>
              <a:tabLst/>
              <a:defRPr sz="1400" baseline="0">
                <a:solidFill>
                  <a:schemeClr val="tx1"/>
                </a:solidFill>
                <a:latin typeface="TeleNeo" panose="020B0504040202090203" pitchFamily="34" charset="0"/>
              </a:defRPr>
            </a:lvl5pPr>
            <a:lvl6pPr marL="801688" indent="-173038">
              <a:buFont typeface="System Font Regular"/>
              <a:buChar char="-"/>
              <a:tabLst/>
              <a:defRPr sz="1400" baseline="0">
                <a:latin typeface="TeleNeo Office" panose="020B0504040202090203" pitchFamily="34" charset="77"/>
              </a:defRPr>
            </a:lvl6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Kfdofksdfmdskl</a:t>
            </a:r>
            <a:endParaRPr lang="en-US"/>
          </a:p>
          <a:p>
            <a:pPr lvl="1"/>
            <a:r>
              <a:rPr lang="en-US" err="1"/>
              <a:t>Rrjewrjlwe</a:t>
            </a:r>
            <a:endParaRPr lang="en-US"/>
          </a:p>
          <a:p>
            <a:pPr lvl="1"/>
            <a:r>
              <a:rPr lang="en-US" err="1"/>
              <a:t>Ddkadl</a:t>
            </a:r>
            <a:endParaRPr lang="en-US"/>
          </a:p>
          <a:p>
            <a:pPr lvl="4"/>
            <a:r>
              <a:rPr lang="en-US" err="1"/>
              <a:t>Jddsalad</a:t>
            </a:r>
            <a:endParaRPr lang="en-US"/>
          </a:p>
          <a:p>
            <a:pPr lvl="5"/>
            <a:r>
              <a:rPr lang="en-US" err="1"/>
              <a:t>Ffifsojo</a:t>
            </a:r>
            <a:endParaRPr lang="en-US"/>
          </a:p>
          <a:p>
            <a:pPr lvl="2"/>
            <a:r>
              <a:rPr lang="en-US" err="1"/>
              <a:t>Ffjdsfklsmes</a:t>
            </a:r>
            <a:endParaRPr lang="en-US"/>
          </a:p>
          <a:p>
            <a:pPr lvl="3"/>
            <a:r>
              <a:rPr lang="en-US" err="1"/>
              <a:t>Djfdskla</a:t>
            </a:r>
            <a:endParaRPr lang="en-US"/>
          </a:p>
          <a:p>
            <a:pPr lvl="4"/>
            <a:r>
              <a:rPr lang="en-US" err="1"/>
              <a:t>Jdskla</a:t>
            </a:r>
            <a:endParaRPr lang="en-US"/>
          </a:p>
          <a:p>
            <a:pPr lvl="5"/>
            <a:r>
              <a:rPr lang="en-US" err="1"/>
              <a:t>ddjskla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6585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-Layouts_Text-Image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3026661" y="0"/>
            <a:ext cx="9161075" cy="6858000"/>
          </a:xfrm>
          <a:prstGeom prst="rect">
            <a:avLst/>
          </a:prstGeom>
          <a:solidFill>
            <a:schemeClr val="tx1">
              <a:alpha val="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89246FD5-4041-1746-9B60-94CF126A1D63}"/>
              </a:ext>
            </a:extLst>
          </p:cNvPr>
          <p:cNvSpPr txBox="1">
            <a:spLocks/>
          </p:cNvSpPr>
          <p:nvPr userDrawn="1"/>
        </p:nvSpPr>
        <p:spPr>
          <a:xfrm>
            <a:off x="78952" y="6361009"/>
            <a:ext cx="629079" cy="489496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400" b="1" i="0" smtClean="0">
                <a:solidFill>
                  <a:srgbClr val="E20074"/>
                </a:solidFill>
                <a:latin typeface="+mj-lt"/>
                <a:ea typeface="Bebas Neue Bold" charset="0"/>
                <a:cs typeface="Bebas Neue Bold" charset="0"/>
              </a:rPr>
              <a:pPr algn="ctr"/>
              <a:t>‹#›</a:t>
            </a:fld>
            <a:endParaRPr lang="en-US" sz="1400" b="1" i="0">
              <a:solidFill>
                <a:srgbClr val="E20074"/>
              </a:solidFill>
              <a:latin typeface="+mj-lt"/>
              <a:ea typeface="Bebas Neue Bold" charset="0"/>
              <a:cs typeface="Bebas Neue Bold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889DF83-AE66-7043-BBA4-24C9476AE3E1}"/>
              </a:ext>
            </a:extLst>
          </p:cNvPr>
          <p:cNvCxnSpPr>
            <a:cxnSpLocks/>
          </p:cNvCxnSpPr>
          <p:nvPr userDrawn="1"/>
        </p:nvCxnSpPr>
        <p:spPr>
          <a:xfrm>
            <a:off x="7114478" y="2475632"/>
            <a:ext cx="572429" cy="0"/>
          </a:xfrm>
          <a:prstGeom prst="line">
            <a:avLst/>
          </a:prstGeom>
          <a:ln w="38100">
            <a:solidFill>
              <a:srgbClr val="E200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23">
            <a:extLst>
              <a:ext uri="{FF2B5EF4-FFF2-40B4-BE49-F238E27FC236}">
                <a16:creationId xmlns:a16="http://schemas.microsoft.com/office/drawing/2014/main" id="{1AAB145D-0F36-7848-A33F-7CAA46367E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4478" y="1635512"/>
            <a:ext cx="3462823" cy="717248"/>
          </a:xfrm>
          <a:prstGeom prst="rect">
            <a:avLst/>
          </a:prstGeom>
        </p:spPr>
        <p:txBody>
          <a:bodyPr wrap="square" lIns="0" anchor="t" anchorCtr="0">
            <a:spAutoFit/>
          </a:bodyPr>
          <a:lstStyle>
            <a:lvl1pPr>
              <a:lnSpc>
                <a:spcPct val="80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18" name="Picture Placeholder 3" descr="A picture containing person, outdoor, tree, sky&#10;&#10;Description automatically generated">
            <a:extLst>
              <a:ext uri="{FF2B5EF4-FFF2-40B4-BE49-F238E27FC236}">
                <a16:creationId xmlns:a16="http://schemas.microsoft.com/office/drawing/2014/main" id="{0BB6D7DB-B73A-0243-8850-8A6DF3110E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854" y="861933"/>
            <a:ext cx="4089612" cy="5141199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C8D7C10F-77B6-554E-86EC-5E9F8557711A}"/>
              </a:ext>
            </a:extLst>
          </p:cNvPr>
          <p:cNvGrpSpPr/>
          <p:nvPr userDrawn="1"/>
        </p:nvGrpSpPr>
        <p:grpSpPr>
          <a:xfrm>
            <a:off x="0" y="0"/>
            <a:ext cx="786983" cy="786983"/>
            <a:chOff x="0" y="0"/>
            <a:chExt cx="786983" cy="78698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A0D9E11-A3D7-B040-99C1-88F9DF0138C3}"/>
                </a:ext>
              </a:extLst>
            </p:cNvPr>
            <p:cNvSpPr/>
            <p:nvPr userDrawn="1"/>
          </p:nvSpPr>
          <p:spPr>
            <a:xfrm>
              <a:off x="0" y="0"/>
              <a:ext cx="786983" cy="78698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spc="300">
                <a:latin typeface="linea-basic-10" charset="0"/>
                <a:ea typeface="linea-basic-10" charset="0"/>
                <a:cs typeface="linea-basic-10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AB05A90D-DC06-BE44-8E16-023491C593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94028" y="155747"/>
              <a:ext cx="398926" cy="475488"/>
            </a:xfrm>
            <a:prstGeom prst="rect">
              <a:avLst/>
            </a:prstGeom>
          </p:spPr>
        </p:pic>
      </p:grp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3CBC547C-8932-DB44-8CAC-ADF90E733D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14478" y="2652684"/>
            <a:ext cx="3742545" cy="3819524"/>
          </a:xfrm>
          <a:prstGeom prst="rect">
            <a:avLst/>
          </a:prstGeom>
        </p:spPr>
        <p:txBody>
          <a:bodyPr lIns="0"/>
          <a:lstStyle>
            <a:lvl1pPr marL="285750" indent="-285750">
              <a:buFont typeface="Arial" panose="020B0604020202020204" pitchFamily="34" charset="0"/>
              <a:buChar char="•"/>
              <a:defRPr sz="1400" b="0" i="0">
                <a:solidFill>
                  <a:schemeClr val="tx1"/>
                </a:solidFill>
                <a:latin typeface="TeleNeo Office" panose="020B0504040202090203" pitchFamily="34" charset="77"/>
              </a:defRPr>
            </a:lvl1pPr>
            <a:lvl2pPr marL="466725" indent="-173038">
              <a:buClrTx/>
              <a:buFont typeface="System Font Regular"/>
              <a:buChar char="–"/>
              <a:tabLst/>
              <a:defRPr sz="1400" b="0" i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2pPr>
            <a:lvl3pPr marL="293688" indent="-293688" algn="l">
              <a:tabLst/>
              <a:defRPr sz="1400" b="0" i="0" spc="0" baseline="0">
                <a:solidFill>
                  <a:schemeClr val="tx1"/>
                </a:solidFill>
                <a:latin typeface="TeleNeo Office" panose="020B0504040202090203" pitchFamily="34" charset="77"/>
              </a:defRPr>
            </a:lvl3pPr>
            <a:lvl4pPr marL="461963" indent="-166688">
              <a:buFont typeface="System Font Regular"/>
              <a:buChar char="–"/>
              <a:tabLst/>
              <a:defRPr baseline="0">
                <a:solidFill>
                  <a:schemeClr val="tx1"/>
                </a:solidFill>
                <a:latin typeface="TeleNeo Office" panose="020B0504040202090203" pitchFamily="34" charset="77"/>
              </a:defRPr>
            </a:lvl4pPr>
            <a:lvl5pPr marL="628650" indent="-166688">
              <a:buFont typeface="System Font Regular"/>
              <a:buChar char="-"/>
              <a:tabLst/>
              <a:defRPr sz="1400" baseline="0">
                <a:solidFill>
                  <a:schemeClr val="tx1"/>
                </a:solidFill>
                <a:latin typeface="TeleNeo" panose="020B0504040202090203" pitchFamily="34" charset="0"/>
              </a:defRPr>
            </a:lvl5pPr>
            <a:lvl6pPr marL="801688" indent="-173038">
              <a:buFont typeface="System Font Regular"/>
              <a:buChar char="-"/>
              <a:tabLst/>
              <a:defRPr sz="1400" baseline="0">
                <a:latin typeface="TeleNeo Office" panose="020B0504040202090203" pitchFamily="34" charset="77"/>
              </a:defRPr>
            </a:lvl6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Kfdofksdfmdskl</a:t>
            </a:r>
            <a:endParaRPr lang="en-US"/>
          </a:p>
          <a:p>
            <a:pPr lvl="1"/>
            <a:r>
              <a:rPr lang="en-US" err="1"/>
              <a:t>Rrjewrjlwe</a:t>
            </a:r>
            <a:endParaRPr lang="en-US"/>
          </a:p>
          <a:p>
            <a:pPr lvl="1"/>
            <a:r>
              <a:rPr lang="en-US" err="1"/>
              <a:t>Ddkadl</a:t>
            </a:r>
            <a:endParaRPr lang="en-US"/>
          </a:p>
          <a:p>
            <a:pPr lvl="4"/>
            <a:r>
              <a:rPr lang="en-US" err="1"/>
              <a:t>Jddsalad</a:t>
            </a:r>
            <a:endParaRPr lang="en-US"/>
          </a:p>
          <a:p>
            <a:pPr lvl="5"/>
            <a:r>
              <a:rPr lang="en-US" err="1"/>
              <a:t>Ffifsojo</a:t>
            </a:r>
            <a:endParaRPr lang="en-US"/>
          </a:p>
          <a:p>
            <a:pPr lvl="2"/>
            <a:r>
              <a:rPr lang="en-US" err="1"/>
              <a:t>Ffjdsfklsmes</a:t>
            </a:r>
            <a:endParaRPr lang="en-US"/>
          </a:p>
          <a:p>
            <a:pPr lvl="3"/>
            <a:r>
              <a:rPr lang="en-US" err="1"/>
              <a:t>Djfdskla</a:t>
            </a:r>
            <a:endParaRPr lang="en-US"/>
          </a:p>
          <a:p>
            <a:pPr lvl="4"/>
            <a:r>
              <a:rPr lang="en-US" err="1"/>
              <a:t>Jdskla</a:t>
            </a:r>
            <a:endParaRPr lang="en-US"/>
          </a:p>
          <a:p>
            <a:pPr lvl="5"/>
            <a:r>
              <a:rPr lang="en-US" err="1"/>
              <a:t>ddjskla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99799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-Layouts_Text-Image-Right_On-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C5A0434-FAB0-BC43-BF17-0708C56DCC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81855" y="3224423"/>
            <a:ext cx="3742545" cy="3217014"/>
          </a:xfrm>
          <a:prstGeom prst="rect">
            <a:avLst/>
          </a:prstGeom>
        </p:spPr>
        <p:txBody>
          <a:bodyPr lIns="0"/>
          <a:lstStyle>
            <a:lvl1pPr marL="285750" indent="-285750">
              <a:buFont typeface="Arial" panose="020B0604020202020204" pitchFamily="34" charset="0"/>
              <a:buChar char="•"/>
              <a:defRPr sz="1400" b="0" i="0">
                <a:solidFill>
                  <a:schemeClr val="bg1"/>
                </a:solidFill>
                <a:latin typeface="TeleNeo Office" panose="020B0504040202090203" pitchFamily="34" charset="77"/>
              </a:defRPr>
            </a:lvl1pPr>
            <a:lvl2pPr marL="466725" indent="-173038">
              <a:buClrTx/>
              <a:buFont typeface="System Font Regular"/>
              <a:buChar char="–"/>
              <a:tabLst/>
              <a:defRPr sz="1400" b="0" i="0" baseline="0">
                <a:solidFill>
                  <a:schemeClr val="bg1"/>
                </a:solidFill>
                <a:latin typeface="TeleNeo Office" panose="020B0504040202090203" pitchFamily="34" charset="77"/>
              </a:defRPr>
            </a:lvl2pPr>
            <a:lvl3pPr marL="293688" indent="-293688" algn="l">
              <a:tabLst/>
              <a:defRPr sz="1400" b="0" i="0" spc="0" baseline="0">
                <a:solidFill>
                  <a:schemeClr val="bg1"/>
                </a:solidFill>
                <a:latin typeface="TeleNeo Office" panose="020B0504040202090203" pitchFamily="34" charset="77"/>
              </a:defRPr>
            </a:lvl3pPr>
            <a:lvl4pPr marL="461963" indent="-166688">
              <a:buFont typeface="System Font Regular"/>
              <a:buChar char="–"/>
              <a:tabLst/>
              <a:defRPr baseline="0">
                <a:solidFill>
                  <a:schemeClr val="bg1"/>
                </a:solidFill>
                <a:latin typeface="TeleNeo Office" panose="020B0504040202090203" pitchFamily="34" charset="77"/>
              </a:defRPr>
            </a:lvl4pPr>
            <a:lvl5pPr marL="628650" indent="-166688">
              <a:buFont typeface="System Font Regular"/>
              <a:buChar char="-"/>
              <a:tabLst/>
              <a:defRPr sz="1400" baseline="0">
                <a:solidFill>
                  <a:schemeClr val="bg1"/>
                </a:solidFill>
                <a:latin typeface="TeleNeo" panose="020B0504040202090203" pitchFamily="34" charset="0"/>
              </a:defRPr>
            </a:lvl5pPr>
            <a:lvl6pPr marL="801688" indent="-173038">
              <a:buFont typeface="System Font Regular"/>
              <a:buChar char="-"/>
              <a:tabLst/>
              <a:defRPr sz="1400" baseline="0">
                <a:solidFill>
                  <a:schemeClr val="bg1"/>
                </a:solidFill>
                <a:latin typeface="TeleNeo Office" panose="020B0504040202090203" pitchFamily="34" charset="77"/>
              </a:defRPr>
            </a:lvl6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Kfdofksdfmdskl</a:t>
            </a:r>
            <a:endParaRPr lang="en-US"/>
          </a:p>
          <a:p>
            <a:pPr lvl="1"/>
            <a:r>
              <a:rPr lang="en-US" err="1"/>
              <a:t>Rrjewrjlwe</a:t>
            </a:r>
            <a:endParaRPr lang="en-US"/>
          </a:p>
          <a:p>
            <a:pPr lvl="1"/>
            <a:r>
              <a:rPr lang="en-US" err="1"/>
              <a:t>Ddkadl</a:t>
            </a:r>
            <a:endParaRPr lang="en-US"/>
          </a:p>
          <a:p>
            <a:pPr lvl="4"/>
            <a:r>
              <a:rPr lang="en-US" err="1"/>
              <a:t>Jddsalad</a:t>
            </a:r>
            <a:endParaRPr lang="en-US"/>
          </a:p>
          <a:p>
            <a:pPr lvl="5"/>
            <a:r>
              <a:rPr lang="en-US" err="1"/>
              <a:t>Ffifsojo</a:t>
            </a:r>
            <a:endParaRPr lang="en-US"/>
          </a:p>
          <a:p>
            <a:pPr lvl="2"/>
            <a:r>
              <a:rPr lang="en-US" err="1"/>
              <a:t>Ffjdsfklsmes</a:t>
            </a:r>
            <a:endParaRPr lang="en-US"/>
          </a:p>
          <a:p>
            <a:pPr lvl="3"/>
            <a:r>
              <a:rPr lang="en-US" err="1"/>
              <a:t>Djfdskla</a:t>
            </a:r>
            <a:endParaRPr lang="en-US"/>
          </a:p>
          <a:p>
            <a:pPr lvl="4"/>
            <a:r>
              <a:rPr lang="en-US" err="1"/>
              <a:t>Jdskla</a:t>
            </a:r>
            <a:endParaRPr lang="en-US"/>
          </a:p>
          <a:p>
            <a:pPr lvl="5"/>
            <a:r>
              <a:rPr lang="en-US" err="1"/>
              <a:t>ddjsklas</a:t>
            </a:r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EAC0B04-AB88-7340-B48E-3E355AE8AF83}"/>
              </a:ext>
            </a:extLst>
          </p:cNvPr>
          <p:cNvSpPr txBox="1">
            <a:spLocks/>
          </p:cNvSpPr>
          <p:nvPr userDrawn="1"/>
        </p:nvSpPr>
        <p:spPr>
          <a:xfrm>
            <a:off x="78952" y="6361009"/>
            <a:ext cx="629079" cy="489496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400" b="1" i="0" smtClean="0">
                <a:solidFill>
                  <a:schemeClr val="bg1"/>
                </a:solidFill>
                <a:latin typeface="+mj-lt"/>
                <a:ea typeface="Bebas Neue Bold" charset="0"/>
                <a:cs typeface="Bebas Neue Bold" charset="0"/>
              </a:rPr>
              <a:pPr algn="ctr"/>
              <a:t>‹#›</a:t>
            </a:fld>
            <a:endParaRPr lang="en-US" sz="1400" b="1" i="0">
              <a:solidFill>
                <a:schemeClr val="bg1"/>
              </a:solidFill>
              <a:latin typeface="+mj-lt"/>
              <a:ea typeface="Bebas Neue Bold" charset="0"/>
              <a:cs typeface="Bebas Neue Bold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719FFE-30C9-D349-8852-0B15361907C0}"/>
              </a:ext>
            </a:extLst>
          </p:cNvPr>
          <p:cNvCxnSpPr>
            <a:cxnSpLocks/>
          </p:cNvCxnSpPr>
          <p:nvPr userDrawn="1"/>
        </p:nvCxnSpPr>
        <p:spPr>
          <a:xfrm>
            <a:off x="977311" y="2679793"/>
            <a:ext cx="572429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Placeholder 3" descr="A picture containing person, outdoor, ground, beach&#10;&#10;Description automatically generated">
            <a:extLst>
              <a:ext uri="{FF2B5EF4-FFF2-40B4-BE49-F238E27FC236}">
                <a16:creationId xmlns:a16="http://schemas.microsoft.com/office/drawing/2014/main" id="{0A12B0FB-3E5A-0041-B073-553CF52D39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71464" y="0"/>
            <a:ext cx="7120531" cy="6858000"/>
          </a:xfrm>
          <a:prstGeom prst="rect">
            <a:avLst/>
          </a:prstGeom>
        </p:spPr>
      </p:pic>
      <p:sp>
        <p:nvSpPr>
          <p:cNvPr id="20" name="Title 23">
            <a:extLst>
              <a:ext uri="{FF2B5EF4-FFF2-40B4-BE49-F238E27FC236}">
                <a16:creationId xmlns:a16="http://schemas.microsoft.com/office/drawing/2014/main" id="{5389FDE5-8D50-E74E-B81B-B56FC583F4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7311" y="1635512"/>
            <a:ext cx="3462823" cy="717248"/>
          </a:xfrm>
          <a:prstGeom prst="rect">
            <a:avLst/>
          </a:prstGeom>
        </p:spPr>
        <p:txBody>
          <a:bodyPr wrap="square" lIns="0" anchor="t" anchorCtr="0">
            <a:spAutoFit/>
          </a:bodyPr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9327A4A-9BB1-9341-B729-821D0CEF1798}"/>
              </a:ext>
            </a:extLst>
          </p:cNvPr>
          <p:cNvGrpSpPr/>
          <p:nvPr userDrawn="1"/>
        </p:nvGrpSpPr>
        <p:grpSpPr>
          <a:xfrm>
            <a:off x="0" y="0"/>
            <a:ext cx="786983" cy="786983"/>
            <a:chOff x="0" y="0"/>
            <a:chExt cx="786983" cy="78698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6572360-77CB-B44B-9D41-54FEAD82492B}"/>
                </a:ext>
              </a:extLst>
            </p:cNvPr>
            <p:cNvSpPr/>
            <p:nvPr/>
          </p:nvSpPr>
          <p:spPr>
            <a:xfrm>
              <a:off x="0" y="0"/>
              <a:ext cx="786983" cy="7869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spc="300">
                <a:latin typeface="linea-basic-10" charset="0"/>
                <a:ea typeface="linea-basic-10" charset="0"/>
                <a:cs typeface="linea-basic-10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7EA2C6F0-B80D-2341-B2C0-54343B13933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94028" y="155747"/>
              <a:ext cx="398926" cy="4754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38275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-Layouts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Placeholder 20" descr="A picture containing table, indoor, wall, person&#10;&#10;Description automatically generated">
            <a:extLst>
              <a:ext uri="{FF2B5EF4-FFF2-40B4-BE49-F238E27FC236}">
                <a16:creationId xmlns:a16="http://schemas.microsoft.com/office/drawing/2014/main" id="{2242CC62-F691-7945-92BA-5FDF5BD93E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480" y="0"/>
            <a:ext cx="2044805" cy="1836295"/>
          </a:xfrm>
          <a:prstGeom prst="rect">
            <a:avLst/>
          </a:prstGeom>
        </p:spPr>
      </p:pic>
      <p:pic>
        <p:nvPicPr>
          <p:cNvPr id="23" name="Picture Placeholder 49" descr="A person and person standing in a field&#10;&#10;Description automatically generated with low confidence">
            <a:extLst>
              <a:ext uri="{FF2B5EF4-FFF2-40B4-BE49-F238E27FC236}">
                <a16:creationId xmlns:a16="http://schemas.microsoft.com/office/drawing/2014/main" id="{B049427C-875A-624C-8092-DD6396D323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480" y="1836295"/>
            <a:ext cx="2044805" cy="1836295"/>
          </a:xfrm>
          <a:prstGeom prst="rect">
            <a:avLst/>
          </a:prstGeom>
        </p:spPr>
      </p:pic>
      <p:pic>
        <p:nvPicPr>
          <p:cNvPr id="24" name="Picture Placeholder 51" descr="A group of people posing for a photo&#10;&#10;Description automatically generated with medium confidence">
            <a:extLst>
              <a:ext uri="{FF2B5EF4-FFF2-40B4-BE49-F238E27FC236}">
                <a16:creationId xmlns:a16="http://schemas.microsoft.com/office/drawing/2014/main" id="{549B0E37-43EE-8C4F-A2AD-AD9DBA5573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14326" y="1836295"/>
            <a:ext cx="2044805" cy="1836295"/>
          </a:xfrm>
          <a:prstGeom prst="rect">
            <a:avLst/>
          </a:prstGeom>
        </p:spPr>
      </p:pic>
      <p:pic>
        <p:nvPicPr>
          <p:cNvPr id="25" name="Picture Placeholder 24" descr="A picture containing person, indoor, computer&#10;&#10;Description automatically generated">
            <a:extLst>
              <a:ext uri="{FF2B5EF4-FFF2-40B4-BE49-F238E27FC236}">
                <a16:creationId xmlns:a16="http://schemas.microsoft.com/office/drawing/2014/main" id="{F24ACC56-8D77-2546-B332-79C49F9A57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9131" y="0"/>
            <a:ext cx="2044805" cy="1836295"/>
          </a:xfrm>
          <a:prstGeom prst="rect">
            <a:avLst/>
          </a:prstGeom>
        </p:spPr>
      </p:pic>
      <p:pic>
        <p:nvPicPr>
          <p:cNvPr id="26" name="Picture Placeholder 53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D2012B53-C677-B945-8BFD-31CA99696D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9131" y="1836295"/>
            <a:ext cx="2044805" cy="1836295"/>
          </a:xfrm>
          <a:prstGeom prst="rect">
            <a:avLst/>
          </a:prstGeom>
        </p:spPr>
      </p:pic>
      <p:pic>
        <p:nvPicPr>
          <p:cNvPr id="27" name="Picture Placeholder 5" descr="A group of people posing for a photo&#10;&#10;Description automatically generated with medium confidence">
            <a:extLst>
              <a:ext uri="{FF2B5EF4-FFF2-40B4-BE49-F238E27FC236}">
                <a16:creationId xmlns:a16="http://schemas.microsoft.com/office/drawing/2014/main" id="{3870FC4A-86B6-574D-A6F0-09600EF6D4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3936" y="0"/>
            <a:ext cx="2044805" cy="1836295"/>
          </a:xfrm>
          <a:prstGeom prst="rect">
            <a:avLst/>
          </a:prstGeom>
        </p:spPr>
      </p:pic>
      <p:pic>
        <p:nvPicPr>
          <p:cNvPr id="28" name="Picture Placeholder 55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A2E0CB6C-76E4-5F4B-9FE9-779142CD8E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3936" y="1836295"/>
            <a:ext cx="2044805" cy="1836295"/>
          </a:xfrm>
          <a:prstGeom prst="rect">
            <a:avLst/>
          </a:prstGeom>
        </p:spPr>
      </p:pic>
      <p:pic>
        <p:nvPicPr>
          <p:cNvPr id="29" name="Picture Placeholder 28">
            <a:extLst>
              <a:ext uri="{FF2B5EF4-FFF2-40B4-BE49-F238E27FC236}">
                <a16:creationId xmlns:a16="http://schemas.microsoft.com/office/drawing/2014/main" id="{C6F7F326-0C38-2C49-9195-D4EFC1A96D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8740" y="0"/>
            <a:ext cx="2044805" cy="1836295"/>
          </a:xfrm>
          <a:prstGeom prst="rect">
            <a:avLst/>
          </a:prstGeom>
        </p:spPr>
      </p:pic>
      <p:pic>
        <p:nvPicPr>
          <p:cNvPr id="30" name="Picture Placeholder 47" descr="A group of women sitting on a bench&#10;&#10;Description automatically generated with medium confidence">
            <a:extLst>
              <a:ext uri="{FF2B5EF4-FFF2-40B4-BE49-F238E27FC236}">
                <a16:creationId xmlns:a16="http://schemas.microsoft.com/office/drawing/2014/main" id="{97CAC2CD-75B8-9149-B9D1-DED0BD68F2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93548" y="0"/>
            <a:ext cx="2044805" cy="1836295"/>
          </a:xfrm>
          <a:prstGeom prst="rect">
            <a:avLst/>
          </a:prstGeom>
        </p:spPr>
      </p:pic>
      <p:pic>
        <p:nvPicPr>
          <p:cNvPr id="31" name="Picture Placeholder 10" descr="A picture containing outdoor, person, crowd&#10;&#10;Description automatically generated">
            <a:extLst>
              <a:ext uri="{FF2B5EF4-FFF2-40B4-BE49-F238E27FC236}">
                <a16:creationId xmlns:a16="http://schemas.microsoft.com/office/drawing/2014/main" id="{F945703C-6C1A-D342-8905-170B352AC0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148740" y="1836295"/>
            <a:ext cx="2044805" cy="1836295"/>
          </a:xfrm>
          <a:prstGeom prst="rect">
            <a:avLst/>
          </a:prstGeom>
        </p:spPr>
      </p:pic>
      <p:pic>
        <p:nvPicPr>
          <p:cNvPr id="32" name="Picture Placeholder 6">
            <a:extLst>
              <a:ext uri="{FF2B5EF4-FFF2-40B4-BE49-F238E27FC236}">
                <a16:creationId xmlns:a16="http://schemas.microsoft.com/office/drawing/2014/main" id="{D78ADB99-66BA-4149-A412-F8DDEFB9FD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193338" y="1836295"/>
            <a:ext cx="2044700" cy="1836738"/>
          </a:xfrm>
          <a:prstGeom prst="rect">
            <a:avLst/>
          </a:prstGeom>
        </p:spPr>
      </p:pic>
      <p:pic>
        <p:nvPicPr>
          <p:cNvPr id="33" name="Picture Placeholder 11" descr="A couple of women sitting at a table with food&#10;&#10;Description automatically generated with low confidence">
            <a:extLst>
              <a:ext uri="{FF2B5EF4-FFF2-40B4-BE49-F238E27FC236}">
                <a16:creationId xmlns:a16="http://schemas.microsoft.com/office/drawing/2014/main" id="{9DBC2B69-DB87-9542-8046-9D9D34C101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014538" y="-443"/>
            <a:ext cx="2044700" cy="1836738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4701253-D84B-424B-9D4F-BBB6E4723F8D}"/>
              </a:ext>
            </a:extLst>
          </p:cNvPr>
          <p:cNvCxnSpPr>
            <a:cxnSpLocks/>
          </p:cNvCxnSpPr>
          <p:nvPr/>
        </p:nvCxnSpPr>
        <p:spPr>
          <a:xfrm>
            <a:off x="3026659" y="4886712"/>
            <a:ext cx="343990" cy="0"/>
          </a:xfrm>
          <a:prstGeom prst="line">
            <a:avLst/>
          </a:prstGeom>
          <a:ln w="25400">
            <a:solidFill>
              <a:srgbClr val="E200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itle 23">
            <a:extLst>
              <a:ext uri="{FF2B5EF4-FFF2-40B4-BE49-F238E27FC236}">
                <a16:creationId xmlns:a16="http://schemas.microsoft.com/office/drawing/2014/main" id="{44E57321-5020-E449-88E0-AD8597A36B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9488" y="4179171"/>
            <a:ext cx="2047875" cy="717248"/>
          </a:xfrm>
          <a:prstGeom prst="rect">
            <a:avLst/>
          </a:prstGeom>
        </p:spPr>
        <p:txBody>
          <a:bodyPr wrap="square" lIns="0" anchor="t" anchorCtr="0">
            <a:spAutoFit/>
          </a:bodyPr>
          <a:lstStyle>
            <a:lvl1pPr>
              <a:lnSpc>
                <a:spcPct val="80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2348B009-998D-794E-B5CA-031D62518A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27363" y="5069108"/>
            <a:ext cx="3499914" cy="64299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latin typeface="TeleNeo Office" panose="020B0504040202090203" pitchFamily="34" charset="77"/>
              </a:defRPr>
            </a:lvl1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39" name="Subtext">
            <a:extLst>
              <a:ext uri="{FF2B5EF4-FFF2-40B4-BE49-F238E27FC236}">
                <a16:creationId xmlns:a16="http://schemas.microsoft.com/office/drawing/2014/main" id="{C3CFF7EE-EB71-0141-A2E2-8938E1055E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9488" y="4820578"/>
            <a:ext cx="1823673" cy="248530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lang="en-US" sz="1200" b="1" kern="1200" spc="300" dirty="0">
                <a:solidFill>
                  <a:schemeClr val="tx1"/>
                </a:solidFill>
                <a:latin typeface="TeleNeo Office ExtraBold" panose="020B0504040202090203" pitchFamily="34" charset="77"/>
                <a:ea typeface="Bebas Neue Bold" charset="0"/>
                <a:cs typeface="Bebas Neue Bold" charset="0"/>
              </a:defRPr>
            </a:lvl1pPr>
          </a:lstStyle>
          <a:p>
            <a:pPr marL="0" lvl="0" algn="l" defTabSz="914400" rtl="0" eaLnBrk="1" latinLnBrk="0" hangingPunct="1">
              <a:lnSpc>
                <a:spcPct val="80000"/>
              </a:lnSpc>
            </a:pPr>
            <a:r>
              <a:rPr lang="en-US"/>
              <a:t>SUBTEXT</a:t>
            </a:r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DE7A9276-8365-C745-9679-AA84949E88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27363" y="4174318"/>
            <a:ext cx="3499914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>
                <a:latin typeface="TeleNeo Office" panose="020B0504040202090203" pitchFamily="34" charset="77"/>
              </a:defRPr>
            </a:lvl1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br>
              <a:rPr lang="en-US"/>
            </a:b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9968AC5-4C33-7B4B-AA59-69F6B7E9FB46}"/>
              </a:ext>
            </a:extLst>
          </p:cNvPr>
          <p:cNvCxnSpPr>
            <a:cxnSpLocks/>
          </p:cNvCxnSpPr>
          <p:nvPr userDrawn="1"/>
        </p:nvCxnSpPr>
        <p:spPr>
          <a:xfrm>
            <a:off x="7114471" y="4886712"/>
            <a:ext cx="343990" cy="0"/>
          </a:xfrm>
          <a:prstGeom prst="line">
            <a:avLst/>
          </a:prstGeom>
          <a:ln w="25400">
            <a:solidFill>
              <a:srgbClr val="E200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 Placeholder 14">
            <a:extLst>
              <a:ext uri="{FF2B5EF4-FFF2-40B4-BE49-F238E27FC236}">
                <a16:creationId xmlns:a16="http://schemas.microsoft.com/office/drawing/2014/main" id="{89D4DE28-CF60-724C-A5B1-BA08B5392DD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14471" y="5069108"/>
            <a:ext cx="3499914" cy="64299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latin typeface="TeleNeo Office" panose="020B0504040202090203" pitchFamily="34" charset="77"/>
              </a:defRPr>
            </a:lvl1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46" name="Text Placeholder 14">
            <a:extLst>
              <a:ext uri="{FF2B5EF4-FFF2-40B4-BE49-F238E27FC236}">
                <a16:creationId xmlns:a16="http://schemas.microsoft.com/office/drawing/2014/main" id="{1F572C28-437E-FB47-A3A0-DDE2ABA0DD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14471" y="4174318"/>
            <a:ext cx="3499914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>
                <a:latin typeface="TeleNeo Office" panose="020B0504040202090203" pitchFamily="34" charset="77"/>
              </a:defRPr>
            </a:lvl1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br>
              <a:rPr lang="en-US"/>
            </a:b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34" name="Slide Number Placeholder 5">
            <a:extLst>
              <a:ext uri="{FF2B5EF4-FFF2-40B4-BE49-F238E27FC236}">
                <a16:creationId xmlns:a16="http://schemas.microsoft.com/office/drawing/2014/main" id="{E3F94BEA-CCA0-3740-9901-B503717393F4}"/>
              </a:ext>
            </a:extLst>
          </p:cNvPr>
          <p:cNvSpPr txBox="1">
            <a:spLocks/>
          </p:cNvSpPr>
          <p:nvPr userDrawn="1"/>
        </p:nvSpPr>
        <p:spPr>
          <a:xfrm>
            <a:off x="78952" y="6361009"/>
            <a:ext cx="629079" cy="489496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400" b="1" i="0" smtClean="0">
                <a:solidFill>
                  <a:srgbClr val="E20074"/>
                </a:solidFill>
                <a:latin typeface="+mj-lt"/>
                <a:ea typeface="Bebas Neue Bold" charset="0"/>
                <a:cs typeface="Bebas Neue Bold" charset="0"/>
              </a:rPr>
              <a:pPr algn="ctr"/>
              <a:t>‹#›</a:t>
            </a:fld>
            <a:endParaRPr lang="en-US" sz="1400" b="1" i="0">
              <a:solidFill>
                <a:srgbClr val="E20074"/>
              </a:solidFill>
              <a:latin typeface="+mj-lt"/>
              <a:ea typeface="Bebas Neue Bold" charset="0"/>
              <a:cs typeface="Bebas Neue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23923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structions_Template-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F2D7CB3A-C869-7745-A3E7-D2E1A85F305C}"/>
              </a:ext>
            </a:extLst>
          </p:cNvPr>
          <p:cNvSpPr/>
          <p:nvPr userDrawn="1"/>
        </p:nvSpPr>
        <p:spPr>
          <a:xfrm>
            <a:off x="0" y="0"/>
            <a:ext cx="5071466" cy="6858000"/>
          </a:xfrm>
          <a:prstGeom prst="rect">
            <a:avLst/>
          </a:prstGeom>
          <a:solidFill>
            <a:schemeClr val="tx1">
              <a:alpha val="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Placeholder 2">
            <a:extLst>
              <a:ext uri="{FF2B5EF4-FFF2-40B4-BE49-F238E27FC236}">
                <a16:creationId xmlns:a16="http://schemas.microsoft.com/office/drawing/2014/main" id="{F1AE4BC4-40EE-5345-89CC-0F7C6DA5A8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71466" y="861933"/>
            <a:ext cx="6134416" cy="514119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FC297A2-7A6E-6243-85B7-CA9ADB1768B1}"/>
              </a:ext>
            </a:extLst>
          </p:cNvPr>
          <p:cNvSpPr txBox="1"/>
          <p:nvPr userDrawn="1"/>
        </p:nvSpPr>
        <p:spPr>
          <a:xfrm rot="16200000">
            <a:off x="-459364" y="5485096"/>
            <a:ext cx="173957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i="0" spc="600">
                <a:solidFill>
                  <a:schemeClr val="tx1"/>
                </a:solidFill>
                <a:latin typeface="TeleNeo Office" panose="020B0504040202090203" pitchFamily="34" charset="77"/>
                <a:ea typeface="Bebas Neue Bold" charset="0"/>
                <a:cs typeface="Bebas Neue Bold" charset="0"/>
              </a:rPr>
              <a:t>CONFIDENTIAL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00AA573-CFCA-D649-94AE-7F73DA97E54D}"/>
              </a:ext>
            </a:extLst>
          </p:cNvPr>
          <p:cNvGrpSpPr/>
          <p:nvPr userDrawn="1"/>
        </p:nvGrpSpPr>
        <p:grpSpPr>
          <a:xfrm>
            <a:off x="0" y="1900"/>
            <a:ext cx="786983" cy="786983"/>
            <a:chOff x="0" y="0"/>
            <a:chExt cx="786983" cy="78698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BB9F3E-B11E-2A42-8CB8-3E9D2DC2CB21}"/>
                </a:ext>
              </a:extLst>
            </p:cNvPr>
            <p:cNvSpPr/>
            <p:nvPr userDrawn="1"/>
          </p:nvSpPr>
          <p:spPr>
            <a:xfrm>
              <a:off x="0" y="0"/>
              <a:ext cx="786983" cy="78698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spc="300">
                <a:latin typeface="linea-basic-10" charset="0"/>
                <a:ea typeface="linea-basic-10" charset="0"/>
                <a:cs typeface="linea-basic-10" charset="0"/>
              </a:endParaRPr>
            </a:p>
          </p:txBody>
        </p:sp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8877E5ED-3942-F34C-BD75-246AB2B297D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94028" y="155747"/>
              <a:ext cx="398926" cy="4754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012902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4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38.xml"/><Relationship Id="rId34" Type="http://schemas.openxmlformats.org/officeDocument/2006/relationships/tags" Target="../tags/tag1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slideLayout" Target="../slideLayouts/slideLayout42.xml"/><Relationship Id="rId33" Type="http://schemas.openxmlformats.org/officeDocument/2006/relationships/theme" Target="../theme/theme4.xml"/><Relationship Id="rId38" Type="http://schemas.openxmlformats.org/officeDocument/2006/relationships/image" Target="../media/image26.png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29" Type="http://schemas.openxmlformats.org/officeDocument/2006/relationships/slideLayout" Target="../slideLayouts/slideLayout46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slideLayout" Target="../slideLayouts/slideLayout41.xml"/><Relationship Id="rId32" Type="http://schemas.openxmlformats.org/officeDocument/2006/relationships/slideLayout" Target="../slideLayouts/slideLayout49.xml"/><Relationship Id="rId37" Type="http://schemas.openxmlformats.org/officeDocument/2006/relationships/image" Target="../media/image25.emf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28" Type="http://schemas.openxmlformats.org/officeDocument/2006/relationships/slideLayout" Target="../slideLayouts/slideLayout45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31" Type="http://schemas.openxmlformats.org/officeDocument/2006/relationships/slideLayout" Target="../slideLayouts/slideLayout48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Relationship Id="rId27" Type="http://schemas.openxmlformats.org/officeDocument/2006/relationships/slideLayout" Target="../slideLayouts/slideLayout44.xml"/><Relationship Id="rId30" Type="http://schemas.openxmlformats.org/officeDocument/2006/relationships/slideLayout" Target="../slideLayouts/slideLayout47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5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3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3090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6200" b="1" i="0" kern="1200">
          <a:solidFill>
            <a:schemeClr val="tx1"/>
          </a:solidFill>
          <a:latin typeface="TeleNeo Office ExtraBold" panose="020B0504040202090203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6200" b="1" i="0" kern="1200">
          <a:solidFill>
            <a:schemeClr val="tx1"/>
          </a:solidFill>
          <a:latin typeface="TeleNeo Office ExtraBold" panose="020B0504040202090203" pitchFamily="34" charset="77"/>
          <a:ea typeface="+mn-ea"/>
          <a:cs typeface="+mn-cs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4800" b="1" i="0" kern="1200" spc="0">
          <a:solidFill>
            <a:schemeClr val="tx1"/>
          </a:solidFill>
          <a:latin typeface="TeleNeo Office ExtraBold" panose="020B0504040202090203" pitchFamily="34" charset="77"/>
          <a:ea typeface="+mn-ea"/>
          <a:cs typeface="+mn-cs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1200" b="1" i="0" kern="1200" spc="300">
          <a:solidFill>
            <a:schemeClr val="tx1"/>
          </a:solidFill>
          <a:latin typeface="TeleNeo Office ExtraBold" panose="020B0504040202090203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TeleNeo Office" panose="020B0504040202090203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17">
          <p15:clr>
            <a:srgbClr val="F26B43"/>
          </p15:clr>
        </p15:guide>
        <p15:guide id="3" pos="4482">
          <p15:clr>
            <a:srgbClr val="F26B43"/>
          </p15:clr>
        </p15:guide>
        <p15:guide id="4" pos="7055">
          <p15:clr>
            <a:srgbClr val="F26B43"/>
          </p15:clr>
        </p15:guide>
        <p15:guide id="5" pos="1907">
          <p15:clr>
            <a:srgbClr val="F26B43"/>
          </p15:clr>
        </p15:guide>
        <p15:guide id="6" pos="3194">
          <p15:clr>
            <a:srgbClr val="F26B43"/>
          </p15:clr>
        </p15:guide>
        <p15:guide id="7" pos="576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3229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6200" b="1" i="0" kern="1200">
          <a:solidFill>
            <a:schemeClr val="tx1"/>
          </a:solidFill>
          <a:latin typeface="TeleNeo Office ExtraBold" panose="020B0504040202090203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6200" b="1" i="0" kern="1200">
          <a:solidFill>
            <a:schemeClr val="tx1"/>
          </a:solidFill>
          <a:latin typeface="TeleNeo Office ExtraBold" panose="020B0504040202090203" pitchFamily="34" charset="77"/>
          <a:ea typeface="+mn-ea"/>
          <a:cs typeface="+mn-cs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4800" b="1" i="0" kern="1200" spc="0">
          <a:solidFill>
            <a:schemeClr val="tx1"/>
          </a:solidFill>
          <a:latin typeface="TeleNeo Office ExtraBold" panose="020B0504040202090203" pitchFamily="34" charset="77"/>
          <a:ea typeface="+mn-ea"/>
          <a:cs typeface="+mn-cs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1200" b="1" i="0" kern="1200" spc="300">
          <a:solidFill>
            <a:schemeClr val="tx1"/>
          </a:solidFill>
          <a:latin typeface="TeleNeo Office ExtraBold" panose="020B0504040202090203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TeleNeo Office" panose="020B0504040202090203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17">
          <p15:clr>
            <a:srgbClr val="F26B43"/>
          </p15:clr>
        </p15:guide>
        <p15:guide id="3" pos="4482">
          <p15:clr>
            <a:srgbClr val="F26B43"/>
          </p15:clr>
        </p15:guide>
        <p15:guide id="4" pos="7055">
          <p15:clr>
            <a:srgbClr val="F26B43"/>
          </p15:clr>
        </p15:guide>
        <p15:guide id="5" pos="1907">
          <p15:clr>
            <a:srgbClr val="F26B43"/>
          </p15:clr>
        </p15:guide>
        <p15:guide id="6" pos="3194">
          <p15:clr>
            <a:srgbClr val="F26B43"/>
          </p15:clr>
        </p15:guide>
        <p15:guide id="7" pos="576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2298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6200" b="1" i="0" kern="1200">
          <a:solidFill>
            <a:schemeClr val="tx1"/>
          </a:solidFill>
          <a:latin typeface="TeleNeo Office ExtraBold" panose="020B0504040202090203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6200" b="1" i="0" kern="1200">
          <a:solidFill>
            <a:schemeClr val="tx1"/>
          </a:solidFill>
          <a:latin typeface="TeleNeo Office ExtraBold" panose="020B0504040202090203" pitchFamily="34" charset="77"/>
          <a:ea typeface="+mn-ea"/>
          <a:cs typeface="+mn-cs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4800" b="1" i="0" kern="1200" spc="0">
          <a:solidFill>
            <a:schemeClr val="tx1"/>
          </a:solidFill>
          <a:latin typeface="TeleNeo Office ExtraBold" panose="020B0504040202090203" pitchFamily="34" charset="77"/>
          <a:ea typeface="+mn-ea"/>
          <a:cs typeface="+mn-cs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1200" b="1" i="0" kern="1200" spc="300">
          <a:solidFill>
            <a:schemeClr val="tx1"/>
          </a:solidFill>
          <a:latin typeface="TeleNeo Office ExtraBold" panose="020B0504040202090203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TeleNeo Office" panose="020B0504040202090203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17">
          <p15:clr>
            <a:srgbClr val="F26B43"/>
          </p15:clr>
        </p15:guide>
        <p15:guide id="3" pos="4482">
          <p15:clr>
            <a:srgbClr val="F26B43"/>
          </p15:clr>
        </p15:guide>
        <p15:guide id="4" pos="7055">
          <p15:clr>
            <a:srgbClr val="F26B43"/>
          </p15:clr>
        </p15:guide>
        <p15:guide id="5" pos="1907">
          <p15:clr>
            <a:srgbClr val="F26B43"/>
          </p15:clr>
        </p15:guide>
        <p15:guide id="6" pos="3194">
          <p15:clr>
            <a:srgbClr val="F26B43"/>
          </p15:clr>
        </p15:guide>
        <p15:guide id="7" pos="576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1AB36A-271E-4940-B2C8-BD3EF1E27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948531491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52" imgH="353" progId="TCLayout.ActiveDocument.1">
                  <p:embed/>
                </p:oleObj>
              </mc:Choice>
              <mc:Fallback>
                <p:oleObj name="think-cell Slide" r:id="rId36" imgW="352" imgH="35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1AB36A-271E-4940-B2C8-BD3EF1E27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9AE60CB-1ACC-427A-9E68-8EAC5F5B8ED2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267" b="0" i="0" baseline="0">
              <a:latin typeface="Tele-GroteskUlt" pitchFamily="2" charset="0"/>
              <a:ea typeface="+mj-ea"/>
              <a:sym typeface="Tele-GroteskUlt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3839" y="200338"/>
            <a:ext cx="11766772" cy="737297"/>
          </a:xfrm>
          <a:prstGeom prst="rect">
            <a:avLst/>
          </a:prstGeom>
        </p:spPr>
        <p:txBody>
          <a:bodyPr vert="horz" lIns="68681" tIns="34340" rIns="68681" bIns="34340" rtlCol="0" anchor="ctr">
            <a:normAutofit/>
          </a:bodyPr>
          <a:lstStyle/>
          <a:p>
            <a:r>
              <a:rPr lang="en-US"/>
              <a:t>Body Slid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3841" y="1168100"/>
            <a:ext cx="11766771" cy="5178272"/>
          </a:xfrm>
          <a:prstGeom prst="rect">
            <a:avLst/>
          </a:prstGeom>
        </p:spPr>
        <p:txBody>
          <a:bodyPr vert="horz" lIns="68681" tIns="34340" rIns="68681" bIns="3434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r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2263CE6-148D-FB4B-A3B5-7DC4B8B25267}"/>
              </a:ext>
            </a:extLst>
          </p:cNvPr>
          <p:cNvSpPr txBox="1">
            <a:spLocks/>
          </p:cNvSpPr>
          <p:nvPr userDrawn="1"/>
        </p:nvSpPr>
        <p:spPr>
          <a:xfrm>
            <a:off x="11538671" y="6544484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accent1"/>
                </a:solidFill>
                <a:latin typeface="+mn-lt"/>
              </a:rPr>
              <a:pPr/>
              <a:t>‹#›</a:t>
            </a:fld>
            <a:endParaRPr lang="en-US" sz="120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06D7175-0AF8-0343-89BA-FE5C7BDDDD69}"/>
              </a:ext>
            </a:extLst>
          </p:cNvPr>
          <p:cNvSpPr/>
          <p:nvPr userDrawn="1"/>
        </p:nvSpPr>
        <p:spPr>
          <a:xfrm>
            <a:off x="11395605" y="6602958"/>
            <a:ext cx="85195" cy="851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9D25584-E37B-840C-16EE-3CEAA24B9CAC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483142"/>
            <a:ext cx="1230925" cy="32482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DE3AE91-FD67-6563-377F-3D1A6733388B}"/>
              </a:ext>
            </a:extLst>
          </p:cNvPr>
          <p:cNvSpPr txBox="1"/>
          <p:nvPr userDrawn="1"/>
        </p:nvSpPr>
        <p:spPr>
          <a:xfrm>
            <a:off x="9350736" y="6507056"/>
            <a:ext cx="1993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r" defTabSz="457859" rtl="0" eaLnBrk="1" latinLnBrk="0" hangingPunct="1"/>
            <a:r>
              <a:rPr lang="en-US" sz="1200" b="0" i="0" kern="120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rPr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57330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  <p:sldLayoutId id="2147483708" r:id="rId23"/>
    <p:sldLayoutId id="2147483709" r:id="rId24"/>
    <p:sldLayoutId id="2147483710" r:id="rId25"/>
    <p:sldLayoutId id="2147483711" r:id="rId26"/>
    <p:sldLayoutId id="2147483712" r:id="rId27"/>
    <p:sldLayoutId id="2147483713" r:id="rId28"/>
    <p:sldLayoutId id="2147483714" r:id="rId29"/>
    <p:sldLayoutId id="2147483715" r:id="rId30"/>
    <p:sldLayoutId id="2147483716" r:id="rId31"/>
    <p:sldLayoutId id="2147483717" r:id="rId32"/>
  </p:sldLayoutIdLst>
  <p:hf sldNum="0" hdr="0" dt="0"/>
  <p:txStyles>
    <p:titleStyle>
      <a:lvl1pPr algn="l" defTabSz="457847" rtl="0" eaLnBrk="1" latinLnBrk="0" hangingPunct="1">
        <a:spcBef>
          <a:spcPct val="0"/>
        </a:spcBef>
        <a:buNone/>
        <a:defRPr sz="4267" b="0" i="0" kern="1200">
          <a:solidFill>
            <a:srgbClr val="E20074"/>
          </a:solidFill>
          <a:latin typeface="+mn-lt"/>
          <a:ea typeface="+mj-ea"/>
          <a:cs typeface="Tele-GroteskUlt" pitchFamily="2" charset="0"/>
        </a:defRPr>
      </a:lvl1pPr>
    </p:titleStyle>
    <p:bodyStyle>
      <a:lvl1pPr marL="343386" indent="-343386" algn="l" defTabSz="457847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1pPr>
      <a:lvl2pPr marL="744003" indent="-286156" algn="l" defTabSz="457847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2pPr>
      <a:lvl3pPr marL="1144618" indent="-228924" algn="l" defTabSz="457847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3pPr>
      <a:lvl4pPr marL="1602467" indent="-228924" algn="l" defTabSz="457847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4pPr>
      <a:lvl5pPr marL="2060315" indent="-228924" algn="l" defTabSz="457847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itchFamily="34" charset="0"/>
        </a:defRPr>
      </a:lvl5pPr>
      <a:lvl6pPr marL="2518162" indent="-228924" algn="l" defTabSz="45784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6010" indent="-228924" algn="l" defTabSz="45784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33857" indent="-228924" algn="l" defTabSz="45784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91705" indent="-228924" algn="l" defTabSz="45784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84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847" algn="l" defTabSz="45784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5696" algn="l" defTabSz="45784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3544" algn="l" defTabSz="45784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31392" algn="l" defTabSz="45784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9239" algn="l" defTabSz="45784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7086" algn="l" defTabSz="45784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4933" algn="l" defTabSz="45784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62780" algn="l" defTabSz="45784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5151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6200" b="1" i="0" kern="1200">
          <a:solidFill>
            <a:schemeClr val="tx1"/>
          </a:solidFill>
          <a:latin typeface="TeleNeo Office ExtraBold" panose="020B0504040202090203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6200" b="1" i="0" kern="1200">
          <a:solidFill>
            <a:schemeClr val="tx1"/>
          </a:solidFill>
          <a:latin typeface="TeleNeo Office ExtraBold" panose="020B0504040202090203" pitchFamily="34" charset="77"/>
          <a:ea typeface="+mn-ea"/>
          <a:cs typeface="+mn-cs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4800" b="1" i="0" kern="1200" spc="0">
          <a:solidFill>
            <a:schemeClr val="tx1"/>
          </a:solidFill>
          <a:latin typeface="TeleNeo Office ExtraBold" panose="020B0504040202090203" pitchFamily="34" charset="77"/>
          <a:ea typeface="+mn-ea"/>
          <a:cs typeface="+mn-cs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1200" b="1" i="0" kern="1200" spc="300">
          <a:solidFill>
            <a:schemeClr val="tx1"/>
          </a:solidFill>
          <a:latin typeface="TeleNeo Office ExtraBold" panose="020B0504040202090203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TeleNeo Office" panose="020B0504040202090203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17">
          <p15:clr>
            <a:srgbClr val="F26B43"/>
          </p15:clr>
        </p15:guide>
        <p15:guide id="3" pos="4482">
          <p15:clr>
            <a:srgbClr val="F26B43"/>
          </p15:clr>
        </p15:guide>
        <p15:guide id="4" pos="7055">
          <p15:clr>
            <a:srgbClr val="F26B43"/>
          </p15:clr>
        </p15:guide>
        <p15:guide id="5" pos="1907">
          <p15:clr>
            <a:srgbClr val="F26B43"/>
          </p15:clr>
        </p15:guide>
        <p15:guide id="6" pos="3194">
          <p15:clr>
            <a:srgbClr val="F26B43"/>
          </p15:clr>
        </p15:guide>
        <p15:guide id="7" pos="576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753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727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6200" b="1" i="0" kern="1200">
          <a:solidFill>
            <a:schemeClr val="tx1"/>
          </a:solidFill>
          <a:latin typeface="TeleNeo Office ExtraBold" panose="020B0504040202090203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6200" b="1" i="0" kern="1200">
          <a:solidFill>
            <a:schemeClr val="tx1"/>
          </a:solidFill>
          <a:latin typeface="TeleNeo Office ExtraBold" panose="020B0504040202090203" pitchFamily="34" charset="77"/>
          <a:ea typeface="+mn-ea"/>
          <a:cs typeface="+mn-cs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4800" b="1" i="0" kern="1200" spc="0">
          <a:solidFill>
            <a:schemeClr val="tx1"/>
          </a:solidFill>
          <a:latin typeface="TeleNeo Office ExtraBold" panose="020B0504040202090203" pitchFamily="34" charset="77"/>
          <a:ea typeface="+mn-ea"/>
          <a:cs typeface="+mn-cs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1200" b="1" i="0" kern="1200" spc="300">
          <a:solidFill>
            <a:schemeClr val="tx1"/>
          </a:solidFill>
          <a:latin typeface="TeleNeo Office ExtraBold" panose="020B0504040202090203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TeleNeo Office" panose="020B0504040202090203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17">
          <p15:clr>
            <a:srgbClr val="F26B43"/>
          </p15:clr>
        </p15:guide>
        <p15:guide id="3" pos="4482">
          <p15:clr>
            <a:srgbClr val="F26B43"/>
          </p15:clr>
        </p15:guide>
        <p15:guide id="4" pos="7055">
          <p15:clr>
            <a:srgbClr val="F26B43"/>
          </p15:clr>
        </p15:guide>
        <p15:guide id="5" pos="1907">
          <p15:clr>
            <a:srgbClr val="F26B43"/>
          </p15:clr>
        </p15:guide>
        <p15:guide id="6" pos="3194">
          <p15:clr>
            <a:srgbClr val="F26B43"/>
          </p15:clr>
        </p15:guide>
        <p15:guide id="7" pos="576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5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5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hyperlink" Target="https://businesspartners.t-mobile.com/prm/English/c/internet_freedom_business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hyperlink" Target="https://businesspartners.t-mobile.com/prm/English/c/internet_freedom_business" TargetMode="Externa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E5982F-ECB2-390C-A3B6-466F163136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D807D6-3C1D-B5CB-9960-E1F029ADB9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855" y="4775748"/>
            <a:ext cx="5983721" cy="778355"/>
          </a:xfrm>
        </p:spPr>
        <p:txBody>
          <a:bodyPr/>
          <a:lstStyle/>
          <a:p>
            <a:r>
              <a:rPr lang="en-US" dirty="0"/>
              <a:t>Voic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263178F-B187-2977-8C45-B25A541A8580}"/>
              </a:ext>
            </a:extLst>
          </p:cNvPr>
          <p:cNvSpPr txBox="1"/>
          <p:nvPr/>
        </p:nvSpPr>
        <p:spPr>
          <a:xfrm rot="16200000">
            <a:off x="-459364" y="5485096"/>
            <a:ext cx="173957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6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Neo Office" panose="020B0504040202090203" pitchFamily="34" charset="77"/>
                <a:ea typeface="Bebas Neue Bold" charset="0"/>
                <a:cs typeface="Bebas Neue Bold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7781911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7D9576-FD8F-A646-B003-0E67CEFA27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24">
            <a:extLst>
              <a:ext uri="{FF2B5EF4-FFF2-40B4-BE49-F238E27FC236}">
                <a16:creationId xmlns:a16="http://schemas.microsoft.com/office/drawing/2014/main" id="{2B304619-0AD4-3279-DDCB-41ADCDE46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7326" y="126521"/>
            <a:ext cx="9616440" cy="928201"/>
          </a:xfrm>
        </p:spPr>
        <p:txBody>
          <a:bodyPr/>
          <a:lstStyle/>
          <a:p>
            <a:r>
              <a:rPr lang="en-US" dirty="0"/>
              <a:t>T-Mobile Business Internet Promo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93CAEE-002B-B336-AB06-C4E22668E95B}"/>
              </a:ext>
            </a:extLst>
          </p:cNvPr>
          <p:cNvSpPr txBox="1"/>
          <p:nvPr/>
        </p:nvSpPr>
        <p:spPr>
          <a:xfrm rot="16200000">
            <a:off x="-459364" y="5485096"/>
            <a:ext cx="173957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6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Neo Office" panose="020B0504040202090203" pitchFamily="34" charset="77"/>
                <a:ea typeface="Bebas Neue Bold" charset="0"/>
                <a:cs typeface="Bebas Neue Bold" charset="0"/>
              </a:rPr>
              <a:t>CONFIDENTIAL</a:t>
            </a:r>
          </a:p>
        </p:txBody>
      </p:sp>
      <p:sp>
        <p:nvSpPr>
          <p:cNvPr id="7" name="Text Placeholder 25">
            <a:extLst>
              <a:ext uri="{FF2B5EF4-FFF2-40B4-BE49-F238E27FC236}">
                <a16:creationId xmlns:a16="http://schemas.microsoft.com/office/drawing/2014/main" id="{7BB94BC6-FE73-C530-51BA-1EE8D8C8C1C5}"/>
              </a:ext>
            </a:extLst>
          </p:cNvPr>
          <p:cNvSpPr txBox="1">
            <a:spLocks/>
          </p:cNvSpPr>
          <p:nvPr/>
        </p:nvSpPr>
        <p:spPr>
          <a:xfrm>
            <a:off x="141280" y="836268"/>
            <a:ext cx="11583357" cy="5302313"/>
          </a:xfrm>
          <a:prstGeom prst="rect">
            <a:avLst/>
          </a:prstGeom>
        </p:spPr>
        <p:txBody>
          <a:bodyPr lIns="0" tIns="45720" rIns="91440" bIns="45720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1pPr>
            <a:lvl2pPr marL="466725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2pPr>
            <a:lvl3pPr marL="293688" marR="0" indent="-2936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3pPr>
            <a:lvl4pPr marL="461963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tabLst/>
              <a:defRPr sz="1400" b="0" i="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4pPr>
            <a:lvl5pPr marL="628650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" panose="020B0504040202090203" pitchFamily="34" charset="0"/>
                <a:ea typeface="+mn-ea"/>
                <a:cs typeface="+mn-cs"/>
              </a:defRPr>
            </a:lvl5pPr>
            <a:lvl6pPr marL="8016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spcBef>
                <a:spcPts val="1000"/>
              </a:spcBef>
              <a:buAutoNum type="arabicPeriod" startAt="6"/>
            </a:pPr>
            <a:endParaRPr lang="en-US" sz="1600" dirty="0">
              <a:latin typeface="TeleNeo Office" panose="020B0504040202090203" pitchFamily="34" charset="0"/>
            </a:endParaRPr>
          </a:p>
          <a:p>
            <a:pPr lvl="1"/>
            <a:endParaRPr lang="en-US" sz="1600" dirty="0">
              <a:latin typeface="TeleNeo Office" panose="020B0504040202090203" pitchFamily="34" charset="0"/>
            </a:endParaRPr>
          </a:p>
          <a:p>
            <a:pPr lvl="1"/>
            <a:endParaRPr lang="en-US" sz="1600" dirty="0">
              <a:latin typeface="TeleNeo Office" panose="020B0504040202090203" pitchFamily="34" charset="0"/>
            </a:endParaRPr>
          </a:p>
          <a:p>
            <a:pPr marL="342900" indent="-342900">
              <a:buAutoNum type="arabicPeriod" startAt="3"/>
            </a:pPr>
            <a:endParaRPr lang="en-US" sz="1600" dirty="0">
              <a:latin typeface="+mn-lt"/>
            </a:endParaRPr>
          </a:p>
          <a:p>
            <a:pPr marL="342900" indent="-342900">
              <a:buAutoNum type="arabicPeriod" startAt="2"/>
            </a:pPr>
            <a:endParaRPr lang="en-US" sz="1600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sz="1600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sz="1050" dirty="0"/>
          </a:p>
          <a:p>
            <a:pPr marL="0" indent="0">
              <a:buNone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8" name="Text Placeholder 25">
            <a:extLst>
              <a:ext uri="{FF2B5EF4-FFF2-40B4-BE49-F238E27FC236}">
                <a16:creationId xmlns:a16="http://schemas.microsoft.com/office/drawing/2014/main" id="{B3444DCD-A496-6AA3-331D-A7EFF0EE9BEE}"/>
              </a:ext>
            </a:extLst>
          </p:cNvPr>
          <p:cNvSpPr txBox="1">
            <a:spLocks/>
          </p:cNvSpPr>
          <p:nvPr/>
        </p:nvSpPr>
        <p:spPr>
          <a:xfrm>
            <a:off x="8253164" y="3683056"/>
            <a:ext cx="4067836" cy="3819524"/>
          </a:xfrm>
          <a:prstGeom prst="rect">
            <a:avLst/>
          </a:prstGeom>
        </p:spPr>
        <p:txBody>
          <a:bodyPr lIns="0" tIns="45720" rIns="91440" bIns="45720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1pPr>
            <a:lvl2pPr marL="466725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2pPr>
            <a:lvl3pPr marL="293688" marR="0" indent="-2936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3pPr>
            <a:lvl4pPr marL="461963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tabLst/>
              <a:defRPr sz="1400" b="0" i="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4pPr>
            <a:lvl5pPr marL="628650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" panose="020B0504040202090203" pitchFamily="34" charset="0"/>
                <a:ea typeface="+mn-ea"/>
                <a:cs typeface="+mn-cs"/>
              </a:defRPr>
            </a:lvl5pPr>
            <a:lvl6pPr marL="8016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4E3760-2CF1-0ABB-976D-4400A60DBF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280" y="895342"/>
            <a:ext cx="5575427" cy="278771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C37F598-51F3-857A-F956-A28E3583F8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0048" y="1259879"/>
            <a:ext cx="5401248" cy="4455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0792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E8C354-C5B3-3845-6A05-DB3143673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A0DA18-B60C-165E-A0AB-F45DFFC24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855" y="4775748"/>
            <a:ext cx="5983721" cy="778355"/>
          </a:xfrm>
        </p:spPr>
        <p:txBody>
          <a:bodyPr/>
          <a:lstStyle/>
          <a:p>
            <a:r>
              <a:rPr lang="en-US" dirty="0"/>
              <a:t>Mobile Interne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2FAED1F-CEF8-28C1-2F6C-F2949BDC7958}"/>
              </a:ext>
            </a:extLst>
          </p:cNvPr>
          <p:cNvSpPr txBox="1"/>
          <p:nvPr/>
        </p:nvSpPr>
        <p:spPr>
          <a:xfrm rot="16200000">
            <a:off x="-459364" y="5485096"/>
            <a:ext cx="173957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6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Neo Office" panose="020B0504040202090203" pitchFamily="34" charset="77"/>
                <a:ea typeface="Bebas Neue Bold" charset="0"/>
                <a:cs typeface="Bebas Neue Bold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889679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B8E4A1-0756-4CE8-C3FD-E689B254D6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24">
            <a:extLst>
              <a:ext uri="{FF2B5EF4-FFF2-40B4-BE49-F238E27FC236}">
                <a16:creationId xmlns:a16="http://schemas.microsoft.com/office/drawing/2014/main" id="{4A7D1D30-6269-7BB2-FB58-854C10B57D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7326" y="126521"/>
            <a:ext cx="9616440" cy="928201"/>
          </a:xfrm>
        </p:spPr>
        <p:txBody>
          <a:bodyPr/>
          <a:lstStyle/>
          <a:p>
            <a:r>
              <a:rPr lang="en-US" dirty="0"/>
              <a:t>T-Mobile Mobile Internet - Hotspo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2CADDD3-E04C-E030-4ED7-3DC8DB3CF69D}"/>
              </a:ext>
            </a:extLst>
          </p:cNvPr>
          <p:cNvSpPr txBox="1"/>
          <p:nvPr/>
        </p:nvSpPr>
        <p:spPr>
          <a:xfrm rot="16200000">
            <a:off x="-459364" y="5485096"/>
            <a:ext cx="173957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6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Neo Office" panose="020B0504040202090203" pitchFamily="34" charset="77"/>
                <a:ea typeface="Bebas Neue Bold" charset="0"/>
                <a:cs typeface="Bebas Neue Bold" charset="0"/>
              </a:rPr>
              <a:t>CONFIDENTIAL</a:t>
            </a:r>
          </a:p>
        </p:txBody>
      </p:sp>
      <p:sp>
        <p:nvSpPr>
          <p:cNvPr id="7" name="Text Placeholder 25">
            <a:extLst>
              <a:ext uri="{FF2B5EF4-FFF2-40B4-BE49-F238E27FC236}">
                <a16:creationId xmlns:a16="http://schemas.microsoft.com/office/drawing/2014/main" id="{50E71668-E739-41CA-4C85-149073E5D1C0}"/>
              </a:ext>
            </a:extLst>
          </p:cNvPr>
          <p:cNvSpPr txBox="1">
            <a:spLocks/>
          </p:cNvSpPr>
          <p:nvPr/>
        </p:nvSpPr>
        <p:spPr>
          <a:xfrm>
            <a:off x="141280" y="836268"/>
            <a:ext cx="11583357" cy="5302313"/>
          </a:xfrm>
          <a:prstGeom prst="rect">
            <a:avLst/>
          </a:prstGeom>
        </p:spPr>
        <p:txBody>
          <a:bodyPr lIns="0" tIns="45720" rIns="91440" bIns="45720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1pPr>
            <a:lvl2pPr marL="466725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2pPr>
            <a:lvl3pPr marL="293688" marR="0" indent="-2936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3pPr>
            <a:lvl4pPr marL="461963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tabLst/>
              <a:defRPr sz="1400" b="0" i="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4pPr>
            <a:lvl5pPr marL="628650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" panose="020B0504040202090203" pitchFamily="34" charset="0"/>
                <a:ea typeface="+mn-ea"/>
                <a:cs typeface="+mn-cs"/>
              </a:defRPr>
            </a:lvl5pPr>
            <a:lvl6pPr marL="8016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spcBef>
                <a:spcPts val="1000"/>
              </a:spcBef>
              <a:buAutoNum type="arabicPeriod" startAt="6"/>
            </a:pPr>
            <a:endParaRPr lang="en-US" sz="1600" dirty="0">
              <a:latin typeface="TeleNeo Office" panose="020B0504040202090203" pitchFamily="34" charset="0"/>
            </a:endParaRPr>
          </a:p>
          <a:p>
            <a:pPr lvl="1"/>
            <a:endParaRPr lang="en-US" sz="1600" dirty="0">
              <a:latin typeface="TeleNeo Office" panose="020B0504040202090203" pitchFamily="34" charset="0"/>
            </a:endParaRPr>
          </a:p>
          <a:p>
            <a:pPr lvl="1"/>
            <a:endParaRPr lang="en-US" sz="1600" dirty="0">
              <a:latin typeface="TeleNeo Office" panose="020B0504040202090203" pitchFamily="34" charset="0"/>
            </a:endParaRPr>
          </a:p>
          <a:p>
            <a:pPr marL="342900" indent="-342900">
              <a:buAutoNum type="arabicPeriod" startAt="3"/>
            </a:pPr>
            <a:endParaRPr lang="en-US" sz="1600" dirty="0">
              <a:latin typeface="+mn-lt"/>
            </a:endParaRPr>
          </a:p>
          <a:p>
            <a:pPr marL="342900" indent="-342900">
              <a:buAutoNum type="arabicPeriod" startAt="2"/>
            </a:pPr>
            <a:endParaRPr lang="en-US" sz="1600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sz="1600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sz="1050" dirty="0"/>
          </a:p>
          <a:p>
            <a:pPr marL="0" indent="0">
              <a:buNone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8" name="Text Placeholder 25">
            <a:extLst>
              <a:ext uri="{FF2B5EF4-FFF2-40B4-BE49-F238E27FC236}">
                <a16:creationId xmlns:a16="http://schemas.microsoft.com/office/drawing/2014/main" id="{779A94A1-5F59-06F2-D0AE-A90A18186E03}"/>
              </a:ext>
            </a:extLst>
          </p:cNvPr>
          <p:cNvSpPr txBox="1">
            <a:spLocks/>
          </p:cNvSpPr>
          <p:nvPr/>
        </p:nvSpPr>
        <p:spPr>
          <a:xfrm>
            <a:off x="8253164" y="3683056"/>
            <a:ext cx="4067836" cy="3819524"/>
          </a:xfrm>
          <a:prstGeom prst="rect">
            <a:avLst/>
          </a:prstGeom>
        </p:spPr>
        <p:txBody>
          <a:bodyPr lIns="0" tIns="45720" rIns="91440" bIns="45720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1pPr>
            <a:lvl2pPr marL="466725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2pPr>
            <a:lvl3pPr marL="293688" marR="0" indent="-2936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3pPr>
            <a:lvl4pPr marL="461963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tabLst/>
              <a:defRPr sz="1400" b="0" i="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4pPr>
            <a:lvl5pPr marL="628650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" panose="020B0504040202090203" pitchFamily="34" charset="0"/>
                <a:ea typeface="+mn-ea"/>
                <a:cs typeface="+mn-cs"/>
              </a:defRPr>
            </a:lvl5pPr>
            <a:lvl6pPr marL="8016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F936C2A-3011-F7F9-CB82-05398ADEF3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148" y="967996"/>
            <a:ext cx="4058216" cy="233395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F336DC0-4B84-A175-8674-76A4BC233F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2703" y="3683056"/>
            <a:ext cx="7887801" cy="272453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9B5454B-020D-DB4A-4D5B-972984E918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44352" y="1054722"/>
            <a:ext cx="4250221" cy="2524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7324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CCC3E5-03B5-5616-D69B-3DF56DB55C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24">
            <a:extLst>
              <a:ext uri="{FF2B5EF4-FFF2-40B4-BE49-F238E27FC236}">
                <a16:creationId xmlns:a16="http://schemas.microsoft.com/office/drawing/2014/main" id="{4DD3EC8E-56B3-07E9-5D69-756A661327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7326" y="126521"/>
            <a:ext cx="11726356" cy="928201"/>
          </a:xfrm>
        </p:spPr>
        <p:txBody>
          <a:bodyPr/>
          <a:lstStyle/>
          <a:p>
            <a:r>
              <a:rPr lang="en-US" sz="4000" dirty="0"/>
              <a:t>T-Mobile Mobile Internet – Connected Laptop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9D6897D-63D5-2B34-239C-6F6447931194}"/>
              </a:ext>
            </a:extLst>
          </p:cNvPr>
          <p:cNvSpPr txBox="1"/>
          <p:nvPr/>
        </p:nvSpPr>
        <p:spPr>
          <a:xfrm rot="16200000">
            <a:off x="-459364" y="5485096"/>
            <a:ext cx="173957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6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Neo Office" panose="020B0504040202090203" pitchFamily="34" charset="77"/>
                <a:ea typeface="Bebas Neue Bold" charset="0"/>
                <a:cs typeface="Bebas Neue Bold" charset="0"/>
              </a:rPr>
              <a:t>CONFIDENTIAL</a:t>
            </a:r>
          </a:p>
        </p:txBody>
      </p:sp>
      <p:sp>
        <p:nvSpPr>
          <p:cNvPr id="7" name="Text Placeholder 25">
            <a:extLst>
              <a:ext uri="{FF2B5EF4-FFF2-40B4-BE49-F238E27FC236}">
                <a16:creationId xmlns:a16="http://schemas.microsoft.com/office/drawing/2014/main" id="{681C3C8E-5FB3-752F-E239-B3BEF0B2DD2B}"/>
              </a:ext>
            </a:extLst>
          </p:cNvPr>
          <p:cNvSpPr txBox="1">
            <a:spLocks/>
          </p:cNvSpPr>
          <p:nvPr/>
        </p:nvSpPr>
        <p:spPr>
          <a:xfrm>
            <a:off x="141280" y="836268"/>
            <a:ext cx="11583357" cy="5302313"/>
          </a:xfrm>
          <a:prstGeom prst="rect">
            <a:avLst/>
          </a:prstGeom>
        </p:spPr>
        <p:txBody>
          <a:bodyPr lIns="0" tIns="45720" rIns="91440" bIns="45720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1pPr>
            <a:lvl2pPr marL="466725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2pPr>
            <a:lvl3pPr marL="293688" marR="0" indent="-2936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3pPr>
            <a:lvl4pPr marL="461963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tabLst/>
              <a:defRPr sz="1400" b="0" i="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4pPr>
            <a:lvl5pPr marL="628650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" panose="020B0504040202090203" pitchFamily="34" charset="0"/>
                <a:ea typeface="+mn-ea"/>
                <a:cs typeface="+mn-cs"/>
              </a:defRPr>
            </a:lvl5pPr>
            <a:lvl6pPr marL="8016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spcBef>
                <a:spcPts val="1000"/>
              </a:spcBef>
              <a:buAutoNum type="arabicPeriod" startAt="6"/>
            </a:pPr>
            <a:endParaRPr lang="en-US" sz="1600" dirty="0">
              <a:latin typeface="TeleNeo Office" panose="020B0504040202090203" pitchFamily="34" charset="0"/>
            </a:endParaRPr>
          </a:p>
          <a:p>
            <a:pPr lvl="1"/>
            <a:endParaRPr lang="en-US" sz="1600" dirty="0">
              <a:latin typeface="TeleNeo Office" panose="020B0504040202090203" pitchFamily="34" charset="0"/>
            </a:endParaRPr>
          </a:p>
          <a:p>
            <a:pPr lvl="1"/>
            <a:endParaRPr lang="en-US" sz="1600" dirty="0">
              <a:latin typeface="TeleNeo Office" panose="020B0504040202090203" pitchFamily="34" charset="0"/>
            </a:endParaRPr>
          </a:p>
          <a:p>
            <a:pPr marL="342900" indent="-342900">
              <a:buAutoNum type="arabicPeriod" startAt="3"/>
            </a:pPr>
            <a:endParaRPr lang="en-US" sz="1600" dirty="0">
              <a:latin typeface="+mn-lt"/>
            </a:endParaRPr>
          </a:p>
          <a:p>
            <a:pPr marL="342900" indent="-342900">
              <a:buAutoNum type="arabicPeriod" startAt="2"/>
            </a:pPr>
            <a:endParaRPr lang="en-US" sz="1600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sz="1600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sz="1050" dirty="0"/>
          </a:p>
          <a:p>
            <a:pPr marL="0" indent="0">
              <a:buNone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8" name="Text Placeholder 25">
            <a:extLst>
              <a:ext uri="{FF2B5EF4-FFF2-40B4-BE49-F238E27FC236}">
                <a16:creationId xmlns:a16="http://schemas.microsoft.com/office/drawing/2014/main" id="{763DC831-A027-D939-8A9F-C3DC7FEFA144}"/>
              </a:ext>
            </a:extLst>
          </p:cNvPr>
          <p:cNvSpPr txBox="1">
            <a:spLocks/>
          </p:cNvSpPr>
          <p:nvPr/>
        </p:nvSpPr>
        <p:spPr>
          <a:xfrm>
            <a:off x="8253164" y="3683056"/>
            <a:ext cx="4067836" cy="3819524"/>
          </a:xfrm>
          <a:prstGeom prst="rect">
            <a:avLst/>
          </a:prstGeom>
        </p:spPr>
        <p:txBody>
          <a:bodyPr lIns="0" tIns="45720" rIns="91440" bIns="45720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1pPr>
            <a:lvl2pPr marL="466725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2pPr>
            <a:lvl3pPr marL="293688" marR="0" indent="-2936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3pPr>
            <a:lvl4pPr marL="461963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tabLst/>
              <a:defRPr sz="1400" b="0" i="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4pPr>
            <a:lvl5pPr marL="628650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" panose="020B0504040202090203" pitchFamily="34" charset="0"/>
                <a:ea typeface="+mn-ea"/>
                <a:cs typeface="+mn-cs"/>
              </a:defRPr>
            </a:lvl5pPr>
            <a:lvl6pPr marL="8016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4CDFB83-20C3-17D0-1C15-284AFA7EB3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280" y="948868"/>
            <a:ext cx="4915586" cy="241016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FD4F77D-8445-A663-905F-E06E613C54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8837" y="2850427"/>
            <a:ext cx="7327980" cy="3450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2099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F378D3-C0C8-769B-C131-3F641B35D5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24">
            <a:extLst>
              <a:ext uri="{FF2B5EF4-FFF2-40B4-BE49-F238E27FC236}">
                <a16:creationId xmlns:a16="http://schemas.microsoft.com/office/drawing/2014/main" id="{8370EFFD-4FB9-B9B2-46A6-19DC37AF4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7326" y="126521"/>
            <a:ext cx="11726356" cy="928201"/>
          </a:xfrm>
        </p:spPr>
        <p:txBody>
          <a:bodyPr/>
          <a:lstStyle/>
          <a:p>
            <a:r>
              <a:rPr lang="en-US" sz="4000" dirty="0"/>
              <a:t>T-Mobile Mobile Interne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A9746C-3792-4625-1A0C-31F9A95CD3E8}"/>
              </a:ext>
            </a:extLst>
          </p:cNvPr>
          <p:cNvSpPr txBox="1"/>
          <p:nvPr/>
        </p:nvSpPr>
        <p:spPr>
          <a:xfrm rot="16200000">
            <a:off x="-459364" y="5485096"/>
            <a:ext cx="173957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6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Neo Office" panose="020B0504040202090203" pitchFamily="34" charset="77"/>
                <a:ea typeface="Bebas Neue Bold" charset="0"/>
                <a:cs typeface="Bebas Neue Bold" charset="0"/>
              </a:rPr>
              <a:t>CONFIDENTIAL</a:t>
            </a:r>
          </a:p>
        </p:txBody>
      </p:sp>
      <p:sp>
        <p:nvSpPr>
          <p:cNvPr id="7" name="Text Placeholder 25">
            <a:extLst>
              <a:ext uri="{FF2B5EF4-FFF2-40B4-BE49-F238E27FC236}">
                <a16:creationId xmlns:a16="http://schemas.microsoft.com/office/drawing/2014/main" id="{E04B2FAC-D486-3CC0-D048-3FB438EFC2CE}"/>
              </a:ext>
            </a:extLst>
          </p:cNvPr>
          <p:cNvSpPr txBox="1">
            <a:spLocks/>
          </p:cNvSpPr>
          <p:nvPr/>
        </p:nvSpPr>
        <p:spPr>
          <a:xfrm>
            <a:off x="141280" y="836268"/>
            <a:ext cx="11583357" cy="5302313"/>
          </a:xfrm>
          <a:prstGeom prst="rect">
            <a:avLst/>
          </a:prstGeom>
        </p:spPr>
        <p:txBody>
          <a:bodyPr lIns="0" tIns="45720" rIns="91440" bIns="45720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1pPr>
            <a:lvl2pPr marL="466725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2pPr>
            <a:lvl3pPr marL="293688" marR="0" indent="-2936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3pPr>
            <a:lvl4pPr marL="461963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tabLst/>
              <a:defRPr sz="1400" b="0" i="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4pPr>
            <a:lvl5pPr marL="628650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" panose="020B0504040202090203" pitchFamily="34" charset="0"/>
                <a:ea typeface="+mn-ea"/>
                <a:cs typeface="+mn-cs"/>
              </a:defRPr>
            </a:lvl5pPr>
            <a:lvl6pPr marL="8016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spcBef>
                <a:spcPts val="1000"/>
              </a:spcBef>
              <a:buAutoNum type="arabicPeriod" startAt="6"/>
            </a:pPr>
            <a:endParaRPr lang="en-US" sz="1600" dirty="0">
              <a:latin typeface="TeleNeo Office" panose="020B0504040202090203" pitchFamily="34" charset="0"/>
            </a:endParaRPr>
          </a:p>
          <a:p>
            <a:pPr lvl="1"/>
            <a:endParaRPr lang="en-US" sz="1600" dirty="0">
              <a:latin typeface="TeleNeo Office" panose="020B0504040202090203" pitchFamily="34" charset="0"/>
            </a:endParaRPr>
          </a:p>
          <a:p>
            <a:pPr lvl="1"/>
            <a:endParaRPr lang="en-US" sz="1600" dirty="0">
              <a:latin typeface="TeleNeo Office" panose="020B0504040202090203" pitchFamily="34" charset="0"/>
            </a:endParaRPr>
          </a:p>
          <a:p>
            <a:pPr marL="342900" indent="-342900">
              <a:buAutoNum type="arabicPeriod" startAt="3"/>
            </a:pPr>
            <a:endParaRPr lang="en-US" sz="1600" dirty="0">
              <a:latin typeface="+mn-lt"/>
            </a:endParaRPr>
          </a:p>
          <a:p>
            <a:pPr marL="342900" indent="-342900">
              <a:buAutoNum type="arabicPeriod" startAt="2"/>
            </a:pPr>
            <a:endParaRPr lang="en-US" sz="1600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sz="1600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sz="1050" dirty="0"/>
          </a:p>
          <a:p>
            <a:pPr marL="0" indent="0">
              <a:buNone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8" name="Text Placeholder 25">
            <a:extLst>
              <a:ext uri="{FF2B5EF4-FFF2-40B4-BE49-F238E27FC236}">
                <a16:creationId xmlns:a16="http://schemas.microsoft.com/office/drawing/2014/main" id="{697346FB-65D8-5E2D-23A3-CDB3DE6982EB}"/>
              </a:ext>
            </a:extLst>
          </p:cNvPr>
          <p:cNvSpPr txBox="1">
            <a:spLocks/>
          </p:cNvSpPr>
          <p:nvPr/>
        </p:nvSpPr>
        <p:spPr>
          <a:xfrm>
            <a:off x="8253164" y="3683056"/>
            <a:ext cx="4067836" cy="3819524"/>
          </a:xfrm>
          <a:prstGeom prst="rect">
            <a:avLst/>
          </a:prstGeom>
        </p:spPr>
        <p:txBody>
          <a:bodyPr lIns="0" tIns="45720" rIns="91440" bIns="45720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1pPr>
            <a:lvl2pPr marL="466725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2pPr>
            <a:lvl3pPr marL="293688" marR="0" indent="-2936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3pPr>
            <a:lvl4pPr marL="461963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tabLst/>
              <a:defRPr sz="1400" b="0" i="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4pPr>
            <a:lvl5pPr marL="628650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" panose="020B0504040202090203" pitchFamily="34" charset="0"/>
                <a:ea typeface="+mn-ea"/>
                <a:cs typeface="+mn-cs"/>
              </a:defRPr>
            </a:lvl5pPr>
            <a:lvl6pPr marL="8016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007F6E-D1F4-6D06-09C2-B8BAC91311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703" y="898557"/>
            <a:ext cx="4572638" cy="221010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BB70DE3-8821-6BCE-7113-9EF3E12583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8743" y="1480896"/>
            <a:ext cx="5548842" cy="4657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31228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71441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492BD5-F67D-337F-E044-52E46B1ECF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24">
            <a:extLst>
              <a:ext uri="{FF2B5EF4-FFF2-40B4-BE49-F238E27FC236}">
                <a16:creationId xmlns:a16="http://schemas.microsoft.com/office/drawing/2014/main" id="{62FE58E2-5C62-E08F-9458-957B97739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7326" y="126521"/>
            <a:ext cx="9616440" cy="928201"/>
          </a:xfrm>
        </p:spPr>
        <p:txBody>
          <a:bodyPr/>
          <a:lstStyle/>
          <a:p>
            <a:r>
              <a:rPr lang="en-US" dirty="0"/>
              <a:t>T-Mobile </a:t>
            </a:r>
            <a:r>
              <a:rPr lang="en-US" dirty="0" err="1"/>
              <a:t>SuperMobile</a:t>
            </a:r>
            <a:r>
              <a:rPr lang="en-US" dirty="0"/>
              <a:t> Pla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CECB551-71D8-164E-C8F4-2F19DF2FAF30}"/>
              </a:ext>
            </a:extLst>
          </p:cNvPr>
          <p:cNvSpPr txBox="1"/>
          <p:nvPr/>
        </p:nvSpPr>
        <p:spPr>
          <a:xfrm rot="16200000">
            <a:off x="-459364" y="5485096"/>
            <a:ext cx="173957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6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Neo Office" panose="020B0504040202090203" pitchFamily="34" charset="77"/>
                <a:ea typeface="Bebas Neue Bold" charset="0"/>
                <a:cs typeface="Bebas Neue Bold" charset="0"/>
              </a:rPr>
              <a:t>CONFIDENTIAL</a:t>
            </a:r>
          </a:p>
        </p:txBody>
      </p:sp>
      <p:sp>
        <p:nvSpPr>
          <p:cNvPr id="7" name="Text Placeholder 25">
            <a:extLst>
              <a:ext uri="{FF2B5EF4-FFF2-40B4-BE49-F238E27FC236}">
                <a16:creationId xmlns:a16="http://schemas.microsoft.com/office/drawing/2014/main" id="{57CA13ED-E8DB-B7E5-5372-D9E4C68920EA}"/>
              </a:ext>
            </a:extLst>
          </p:cNvPr>
          <p:cNvSpPr txBox="1">
            <a:spLocks/>
          </p:cNvSpPr>
          <p:nvPr/>
        </p:nvSpPr>
        <p:spPr>
          <a:xfrm>
            <a:off x="141280" y="836268"/>
            <a:ext cx="11583357" cy="5302313"/>
          </a:xfrm>
          <a:prstGeom prst="rect">
            <a:avLst/>
          </a:prstGeom>
        </p:spPr>
        <p:txBody>
          <a:bodyPr lIns="0" tIns="45720" rIns="91440" bIns="45720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1pPr>
            <a:lvl2pPr marL="466725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2pPr>
            <a:lvl3pPr marL="293688" marR="0" indent="-2936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3pPr>
            <a:lvl4pPr marL="461963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tabLst/>
              <a:defRPr sz="1400" b="0" i="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4pPr>
            <a:lvl5pPr marL="628650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" panose="020B0504040202090203" pitchFamily="34" charset="0"/>
                <a:ea typeface="+mn-ea"/>
                <a:cs typeface="+mn-cs"/>
              </a:defRPr>
            </a:lvl5pPr>
            <a:lvl6pPr marL="8016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spcBef>
                <a:spcPts val="1000"/>
              </a:spcBef>
              <a:buAutoNum type="arabicPeriod" startAt="6"/>
            </a:pPr>
            <a:endParaRPr lang="en-US" sz="1600" dirty="0">
              <a:latin typeface="TeleNeo Office" panose="020B0504040202090203" pitchFamily="34" charset="0"/>
            </a:endParaRPr>
          </a:p>
          <a:p>
            <a:pPr lvl="1"/>
            <a:endParaRPr lang="en-US" sz="1600" dirty="0">
              <a:latin typeface="TeleNeo Office" panose="020B0504040202090203" pitchFamily="34" charset="0"/>
            </a:endParaRPr>
          </a:p>
          <a:p>
            <a:pPr lvl="1"/>
            <a:endParaRPr lang="en-US" sz="1600" dirty="0">
              <a:latin typeface="TeleNeo Office" panose="020B0504040202090203" pitchFamily="34" charset="0"/>
            </a:endParaRPr>
          </a:p>
          <a:p>
            <a:pPr marL="342900" indent="-342900">
              <a:buAutoNum type="arabicPeriod" startAt="3"/>
            </a:pPr>
            <a:endParaRPr lang="en-US" sz="1600" dirty="0">
              <a:latin typeface="+mn-lt"/>
            </a:endParaRPr>
          </a:p>
          <a:p>
            <a:pPr marL="342900" indent="-342900">
              <a:buAutoNum type="arabicPeriod" startAt="2"/>
            </a:pPr>
            <a:endParaRPr lang="en-US" sz="1600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sz="1600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sz="1050" dirty="0"/>
          </a:p>
          <a:p>
            <a:pPr marL="0" indent="0">
              <a:buNone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8" name="Text Placeholder 25">
            <a:extLst>
              <a:ext uri="{FF2B5EF4-FFF2-40B4-BE49-F238E27FC236}">
                <a16:creationId xmlns:a16="http://schemas.microsoft.com/office/drawing/2014/main" id="{A84A442D-FEEB-4CA4-6D3E-ACD3B43CBE29}"/>
              </a:ext>
            </a:extLst>
          </p:cNvPr>
          <p:cNvSpPr txBox="1">
            <a:spLocks/>
          </p:cNvSpPr>
          <p:nvPr/>
        </p:nvSpPr>
        <p:spPr>
          <a:xfrm>
            <a:off x="8253164" y="3683056"/>
            <a:ext cx="4067836" cy="3819524"/>
          </a:xfrm>
          <a:prstGeom prst="rect">
            <a:avLst/>
          </a:prstGeom>
        </p:spPr>
        <p:txBody>
          <a:bodyPr lIns="0" tIns="45720" rIns="91440" bIns="45720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1pPr>
            <a:lvl2pPr marL="466725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2pPr>
            <a:lvl3pPr marL="293688" marR="0" indent="-2936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3pPr>
            <a:lvl4pPr marL="461963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tabLst/>
              <a:defRPr sz="1400" b="0" i="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4pPr>
            <a:lvl5pPr marL="628650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" panose="020B0504040202090203" pitchFamily="34" charset="0"/>
                <a:ea typeface="+mn-ea"/>
                <a:cs typeface="+mn-cs"/>
              </a:defRPr>
            </a:lvl5pPr>
            <a:lvl6pPr marL="8016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0A6211B-B348-26F1-A9BB-922D569BFF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047" y="836268"/>
            <a:ext cx="8002117" cy="5544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0999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51AA3F-20F3-C6BA-E03F-CCD0C31E05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24">
            <a:extLst>
              <a:ext uri="{FF2B5EF4-FFF2-40B4-BE49-F238E27FC236}">
                <a16:creationId xmlns:a16="http://schemas.microsoft.com/office/drawing/2014/main" id="{2D56640E-4C2D-FF5C-3B0F-9499A92508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7326" y="126521"/>
            <a:ext cx="9616440" cy="928201"/>
          </a:xfrm>
        </p:spPr>
        <p:txBody>
          <a:bodyPr/>
          <a:lstStyle/>
          <a:p>
            <a:r>
              <a:rPr lang="en-US" dirty="0"/>
              <a:t>T-Mobile Voice Promo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BDBC1F7-E8B5-6A54-9D4F-7197E315C53A}"/>
              </a:ext>
            </a:extLst>
          </p:cNvPr>
          <p:cNvSpPr txBox="1"/>
          <p:nvPr/>
        </p:nvSpPr>
        <p:spPr>
          <a:xfrm rot="16200000">
            <a:off x="-459364" y="5485096"/>
            <a:ext cx="173957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6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Neo Office" panose="020B0504040202090203" pitchFamily="34" charset="77"/>
                <a:ea typeface="Bebas Neue Bold" charset="0"/>
                <a:cs typeface="Bebas Neue Bold" charset="0"/>
              </a:rPr>
              <a:t>CONFIDENTIAL</a:t>
            </a:r>
          </a:p>
        </p:txBody>
      </p:sp>
      <p:sp>
        <p:nvSpPr>
          <p:cNvPr id="7" name="Text Placeholder 25">
            <a:extLst>
              <a:ext uri="{FF2B5EF4-FFF2-40B4-BE49-F238E27FC236}">
                <a16:creationId xmlns:a16="http://schemas.microsoft.com/office/drawing/2014/main" id="{8169203D-68CB-B819-260F-6139F46DBF33}"/>
              </a:ext>
            </a:extLst>
          </p:cNvPr>
          <p:cNvSpPr txBox="1">
            <a:spLocks/>
          </p:cNvSpPr>
          <p:nvPr/>
        </p:nvSpPr>
        <p:spPr>
          <a:xfrm>
            <a:off x="141280" y="836268"/>
            <a:ext cx="11583357" cy="5302313"/>
          </a:xfrm>
          <a:prstGeom prst="rect">
            <a:avLst/>
          </a:prstGeom>
        </p:spPr>
        <p:txBody>
          <a:bodyPr lIns="0" tIns="45720" rIns="91440" bIns="45720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1pPr>
            <a:lvl2pPr marL="466725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2pPr>
            <a:lvl3pPr marL="293688" marR="0" indent="-2936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3pPr>
            <a:lvl4pPr marL="461963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tabLst/>
              <a:defRPr sz="1400" b="0" i="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4pPr>
            <a:lvl5pPr marL="628650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" panose="020B0504040202090203" pitchFamily="34" charset="0"/>
                <a:ea typeface="+mn-ea"/>
                <a:cs typeface="+mn-cs"/>
              </a:defRPr>
            </a:lvl5pPr>
            <a:lvl6pPr marL="8016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spcBef>
                <a:spcPts val="1000"/>
              </a:spcBef>
              <a:buAutoNum type="arabicPeriod" startAt="6"/>
            </a:pPr>
            <a:endParaRPr lang="en-US" sz="1600" dirty="0">
              <a:latin typeface="TeleNeo Office" panose="020B0504040202090203" pitchFamily="34" charset="0"/>
            </a:endParaRPr>
          </a:p>
          <a:p>
            <a:pPr lvl="1"/>
            <a:endParaRPr lang="en-US" sz="1600" dirty="0">
              <a:latin typeface="TeleNeo Office" panose="020B0504040202090203" pitchFamily="34" charset="0"/>
            </a:endParaRPr>
          </a:p>
          <a:p>
            <a:pPr lvl="1"/>
            <a:endParaRPr lang="en-US" sz="1600" dirty="0">
              <a:latin typeface="TeleNeo Office" panose="020B0504040202090203" pitchFamily="34" charset="0"/>
            </a:endParaRPr>
          </a:p>
          <a:p>
            <a:pPr marL="342900" indent="-342900">
              <a:buAutoNum type="arabicPeriod" startAt="3"/>
            </a:pPr>
            <a:endParaRPr lang="en-US" sz="1600" dirty="0">
              <a:latin typeface="+mn-lt"/>
            </a:endParaRPr>
          </a:p>
          <a:p>
            <a:pPr marL="342900" indent="-342900">
              <a:buAutoNum type="arabicPeriod" startAt="2"/>
            </a:pPr>
            <a:endParaRPr lang="en-US" sz="1600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sz="1600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sz="1050" dirty="0"/>
          </a:p>
          <a:p>
            <a:pPr marL="0" indent="0">
              <a:buNone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8" name="Text Placeholder 25">
            <a:extLst>
              <a:ext uri="{FF2B5EF4-FFF2-40B4-BE49-F238E27FC236}">
                <a16:creationId xmlns:a16="http://schemas.microsoft.com/office/drawing/2014/main" id="{6F45F9CD-EF7E-7E60-B6EE-0BAE04B852B4}"/>
              </a:ext>
            </a:extLst>
          </p:cNvPr>
          <p:cNvSpPr txBox="1">
            <a:spLocks/>
          </p:cNvSpPr>
          <p:nvPr/>
        </p:nvSpPr>
        <p:spPr>
          <a:xfrm>
            <a:off x="8253164" y="3683056"/>
            <a:ext cx="4067836" cy="3819524"/>
          </a:xfrm>
          <a:prstGeom prst="rect">
            <a:avLst/>
          </a:prstGeom>
        </p:spPr>
        <p:txBody>
          <a:bodyPr lIns="0" tIns="45720" rIns="91440" bIns="45720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1pPr>
            <a:lvl2pPr marL="466725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2pPr>
            <a:lvl3pPr marL="293688" marR="0" indent="-2936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3pPr>
            <a:lvl4pPr marL="461963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tabLst/>
              <a:defRPr sz="1400" b="0" i="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4pPr>
            <a:lvl5pPr marL="628650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" panose="020B0504040202090203" pitchFamily="34" charset="0"/>
                <a:ea typeface="+mn-ea"/>
                <a:cs typeface="+mn-cs"/>
              </a:defRPr>
            </a:lvl5pPr>
            <a:lvl6pPr marL="8016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D7034BA-C779-87CA-4219-52AE71FB59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771" y="836268"/>
            <a:ext cx="3323141" cy="587940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9D95DB0-5B94-F923-BBD8-AF104D9358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69440" y="823540"/>
            <a:ext cx="4853120" cy="1826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5392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CEFF54-637A-1C4C-80D9-C4B9DD1EBC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855" y="4775748"/>
            <a:ext cx="5983721" cy="778355"/>
          </a:xfrm>
        </p:spPr>
        <p:txBody>
          <a:bodyPr/>
          <a:lstStyle/>
          <a:p>
            <a:r>
              <a:rPr lang="en-US" dirty="0"/>
              <a:t>Business Interne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F87A1E5-C90C-3D41-8D8A-0C867C63E985}"/>
              </a:ext>
            </a:extLst>
          </p:cNvPr>
          <p:cNvSpPr txBox="1"/>
          <p:nvPr/>
        </p:nvSpPr>
        <p:spPr>
          <a:xfrm rot="16200000">
            <a:off x="-459364" y="5485096"/>
            <a:ext cx="173957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6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Neo Office" panose="020B0504040202090203" pitchFamily="34" charset="77"/>
                <a:ea typeface="Bebas Neue Bold" charset="0"/>
                <a:cs typeface="Bebas Neue Bold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2063050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6AAC85-3BED-7F1D-BA2F-17AE52D33D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24">
            <a:extLst>
              <a:ext uri="{FF2B5EF4-FFF2-40B4-BE49-F238E27FC236}">
                <a16:creationId xmlns:a16="http://schemas.microsoft.com/office/drawing/2014/main" id="{3B54292D-F07E-EEFC-77C3-C60F6F368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7326" y="126521"/>
            <a:ext cx="9616440" cy="928201"/>
          </a:xfrm>
        </p:spPr>
        <p:txBody>
          <a:bodyPr/>
          <a:lstStyle/>
          <a:p>
            <a:r>
              <a:rPr lang="en-US" dirty="0"/>
              <a:t>T-Mobile Business Internet Pla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ECA4483-0BA6-F795-AE33-999D76E2EEBD}"/>
              </a:ext>
            </a:extLst>
          </p:cNvPr>
          <p:cNvSpPr txBox="1"/>
          <p:nvPr/>
        </p:nvSpPr>
        <p:spPr>
          <a:xfrm rot="16200000">
            <a:off x="-459364" y="5485096"/>
            <a:ext cx="173957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6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Neo Office" panose="020B0504040202090203" pitchFamily="34" charset="77"/>
                <a:ea typeface="Bebas Neue Bold" charset="0"/>
                <a:cs typeface="Bebas Neue Bold" charset="0"/>
              </a:rPr>
              <a:t>CONFIDENTIAL</a:t>
            </a:r>
          </a:p>
        </p:txBody>
      </p:sp>
      <p:sp>
        <p:nvSpPr>
          <p:cNvPr id="7" name="Text Placeholder 25">
            <a:extLst>
              <a:ext uri="{FF2B5EF4-FFF2-40B4-BE49-F238E27FC236}">
                <a16:creationId xmlns:a16="http://schemas.microsoft.com/office/drawing/2014/main" id="{A544AECE-C90C-51BE-FE55-00A76D26B498}"/>
              </a:ext>
            </a:extLst>
          </p:cNvPr>
          <p:cNvSpPr txBox="1">
            <a:spLocks/>
          </p:cNvSpPr>
          <p:nvPr/>
        </p:nvSpPr>
        <p:spPr>
          <a:xfrm>
            <a:off x="141280" y="836268"/>
            <a:ext cx="11583357" cy="5302313"/>
          </a:xfrm>
          <a:prstGeom prst="rect">
            <a:avLst/>
          </a:prstGeom>
        </p:spPr>
        <p:txBody>
          <a:bodyPr lIns="0" tIns="45720" rIns="91440" bIns="45720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1pPr>
            <a:lvl2pPr marL="466725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2pPr>
            <a:lvl3pPr marL="293688" marR="0" indent="-2936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3pPr>
            <a:lvl4pPr marL="461963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tabLst/>
              <a:defRPr sz="1400" b="0" i="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4pPr>
            <a:lvl5pPr marL="628650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" panose="020B0504040202090203" pitchFamily="34" charset="0"/>
                <a:ea typeface="+mn-ea"/>
                <a:cs typeface="+mn-cs"/>
              </a:defRPr>
            </a:lvl5pPr>
            <a:lvl6pPr marL="8016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spcBef>
                <a:spcPts val="1000"/>
              </a:spcBef>
              <a:buAutoNum type="arabicPeriod" startAt="6"/>
            </a:pPr>
            <a:endParaRPr lang="en-US" sz="1600" dirty="0">
              <a:latin typeface="TeleNeo Office" panose="020B0504040202090203" pitchFamily="34" charset="0"/>
            </a:endParaRPr>
          </a:p>
          <a:p>
            <a:pPr lvl="1"/>
            <a:endParaRPr lang="en-US" sz="1600" dirty="0">
              <a:latin typeface="TeleNeo Office" panose="020B0504040202090203" pitchFamily="34" charset="0"/>
            </a:endParaRPr>
          </a:p>
          <a:p>
            <a:pPr lvl="1"/>
            <a:endParaRPr lang="en-US" sz="1600" dirty="0">
              <a:latin typeface="TeleNeo Office" panose="020B0504040202090203" pitchFamily="34" charset="0"/>
            </a:endParaRPr>
          </a:p>
          <a:p>
            <a:pPr marL="342900" indent="-342900">
              <a:buAutoNum type="arabicPeriod" startAt="3"/>
            </a:pPr>
            <a:endParaRPr lang="en-US" sz="1600" dirty="0">
              <a:latin typeface="+mn-lt"/>
            </a:endParaRPr>
          </a:p>
          <a:p>
            <a:pPr marL="342900" indent="-342900">
              <a:buAutoNum type="arabicPeriod" startAt="2"/>
            </a:pPr>
            <a:endParaRPr lang="en-US" sz="1600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sz="1600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sz="1050" dirty="0"/>
          </a:p>
          <a:p>
            <a:pPr marL="0" indent="0">
              <a:buNone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8" name="Text Placeholder 25">
            <a:extLst>
              <a:ext uri="{FF2B5EF4-FFF2-40B4-BE49-F238E27FC236}">
                <a16:creationId xmlns:a16="http://schemas.microsoft.com/office/drawing/2014/main" id="{64543F4D-70D0-7DB0-108C-E73EBFAB0853}"/>
              </a:ext>
            </a:extLst>
          </p:cNvPr>
          <p:cNvSpPr txBox="1">
            <a:spLocks/>
          </p:cNvSpPr>
          <p:nvPr/>
        </p:nvSpPr>
        <p:spPr>
          <a:xfrm>
            <a:off x="8253164" y="3683056"/>
            <a:ext cx="4067836" cy="3819524"/>
          </a:xfrm>
          <a:prstGeom prst="rect">
            <a:avLst/>
          </a:prstGeom>
        </p:spPr>
        <p:txBody>
          <a:bodyPr lIns="0" tIns="45720" rIns="91440" bIns="45720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1pPr>
            <a:lvl2pPr marL="466725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2pPr>
            <a:lvl3pPr marL="293688" marR="0" indent="-2936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3pPr>
            <a:lvl4pPr marL="461963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tabLst/>
              <a:defRPr sz="1400" b="0" i="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4pPr>
            <a:lvl5pPr marL="628650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" panose="020B0504040202090203" pitchFamily="34" charset="0"/>
                <a:ea typeface="+mn-ea"/>
                <a:cs typeface="+mn-cs"/>
              </a:defRPr>
            </a:lvl5pPr>
            <a:lvl6pPr marL="8016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8AAA337-1022-8869-7BAE-E8749F533D22}"/>
              </a:ext>
            </a:extLst>
          </p:cNvPr>
          <p:cNvSpPr txBox="1"/>
          <p:nvPr/>
        </p:nvSpPr>
        <p:spPr>
          <a:xfrm>
            <a:off x="9934061" y="33477"/>
            <a:ext cx="33066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2"/>
              </a:rPr>
              <a:t>Business Internet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4C19517-71BB-EAF3-78BF-DBC21157DD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626" y="1407214"/>
            <a:ext cx="8154538" cy="353426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065EFCC-8C3F-4472-67EB-BDA14D596FA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r="31875"/>
          <a:stretch>
            <a:fillRect/>
          </a:stretch>
        </p:blipFill>
        <p:spPr>
          <a:xfrm>
            <a:off x="7747918" y="1625668"/>
            <a:ext cx="4150164" cy="2459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2331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7E84E0-22DD-4894-67E6-F299504A7C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24">
            <a:extLst>
              <a:ext uri="{FF2B5EF4-FFF2-40B4-BE49-F238E27FC236}">
                <a16:creationId xmlns:a16="http://schemas.microsoft.com/office/drawing/2014/main" id="{D1C26F36-D1D6-6F44-3296-E0E8E210F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7326" y="126521"/>
            <a:ext cx="9616440" cy="928201"/>
          </a:xfrm>
        </p:spPr>
        <p:txBody>
          <a:bodyPr/>
          <a:lstStyle/>
          <a:p>
            <a:r>
              <a:rPr lang="en-US" dirty="0"/>
              <a:t>T-Mobile Business Internet Pla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88B24F9-8277-2545-F4B4-227065AC507B}"/>
              </a:ext>
            </a:extLst>
          </p:cNvPr>
          <p:cNvSpPr txBox="1"/>
          <p:nvPr/>
        </p:nvSpPr>
        <p:spPr>
          <a:xfrm rot="16200000">
            <a:off x="-459364" y="5485096"/>
            <a:ext cx="173957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6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Neo Office" panose="020B0504040202090203" pitchFamily="34" charset="77"/>
                <a:ea typeface="Bebas Neue Bold" charset="0"/>
                <a:cs typeface="Bebas Neue Bold" charset="0"/>
              </a:rPr>
              <a:t>CONFIDENTIAL</a:t>
            </a:r>
          </a:p>
        </p:txBody>
      </p:sp>
      <p:sp>
        <p:nvSpPr>
          <p:cNvPr id="7" name="Text Placeholder 25">
            <a:extLst>
              <a:ext uri="{FF2B5EF4-FFF2-40B4-BE49-F238E27FC236}">
                <a16:creationId xmlns:a16="http://schemas.microsoft.com/office/drawing/2014/main" id="{0CC2083F-8A97-5B64-0BF8-A434C6FE0ABE}"/>
              </a:ext>
            </a:extLst>
          </p:cNvPr>
          <p:cNvSpPr txBox="1">
            <a:spLocks/>
          </p:cNvSpPr>
          <p:nvPr/>
        </p:nvSpPr>
        <p:spPr>
          <a:xfrm>
            <a:off x="141280" y="836268"/>
            <a:ext cx="11583357" cy="5302313"/>
          </a:xfrm>
          <a:prstGeom prst="rect">
            <a:avLst/>
          </a:prstGeom>
        </p:spPr>
        <p:txBody>
          <a:bodyPr lIns="0" tIns="45720" rIns="91440" bIns="45720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1pPr>
            <a:lvl2pPr marL="466725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2pPr>
            <a:lvl3pPr marL="293688" marR="0" indent="-2936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3pPr>
            <a:lvl4pPr marL="461963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tabLst/>
              <a:defRPr sz="1400" b="0" i="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4pPr>
            <a:lvl5pPr marL="628650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" panose="020B0504040202090203" pitchFamily="34" charset="0"/>
                <a:ea typeface="+mn-ea"/>
                <a:cs typeface="+mn-cs"/>
              </a:defRPr>
            </a:lvl5pPr>
            <a:lvl6pPr marL="8016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spcBef>
                <a:spcPts val="1000"/>
              </a:spcBef>
              <a:buAutoNum type="arabicPeriod" startAt="6"/>
            </a:pPr>
            <a:endParaRPr lang="en-US" sz="1600" dirty="0">
              <a:latin typeface="TeleNeo Office" panose="020B0504040202090203" pitchFamily="34" charset="0"/>
            </a:endParaRPr>
          </a:p>
          <a:p>
            <a:pPr lvl="1"/>
            <a:endParaRPr lang="en-US" sz="1600" dirty="0">
              <a:latin typeface="TeleNeo Office" panose="020B0504040202090203" pitchFamily="34" charset="0"/>
            </a:endParaRPr>
          </a:p>
          <a:p>
            <a:pPr lvl="1"/>
            <a:endParaRPr lang="en-US" sz="1600" dirty="0">
              <a:latin typeface="TeleNeo Office" panose="020B0504040202090203" pitchFamily="34" charset="0"/>
            </a:endParaRPr>
          </a:p>
          <a:p>
            <a:pPr marL="342900" indent="-342900">
              <a:buAutoNum type="arabicPeriod" startAt="3"/>
            </a:pPr>
            <a:endParaRPr lang="en-US" sz="1600" dirty="0">
              <a:latin typeface="+mn-lt"/>
            </a:endParaRPr>
          </a:p>
          <a:p>
            <a:pPr marL="342900" indent="-342900">
              <a:buAutoNum type="arabicPeriod" startAt="2"/>
            </a:pPr>
            <a:endParaRPr lang="en-US" sz="1600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sz="1600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sz="1050" dirty="0"/>
          </a:p>
          <a:p>
            <a:pPr marL="0" indent="0">
              <a:buNone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8" name="Text Placeholder 25">
            <a:extLst>
              <a:ext uri="{FF2B5EF4-FFF2-40B4-BE49-F238E27FC236}">
                <a16:creationId xmlns:a16="http://schemas.microsoft.com/office/drawing/2014/main" id="{36EB5A43-3880-A650-C324-B06055AF3D92}"/>
              </a:ext>
            </a:extLst>
          </p:cNvPr>
          <p:cNvSpPr txBox="1">
            <a:spLocks/>
          </p:cNvSpPr>
          <p:nvPr/>
        </p:nvSpPr>
        <p:spPr>
          <a:xfrm>
            <a:off x="8253164" y="3683056"/>
            <a:ext cx="4067836" cy="3819524"/>
          </a:xfrm>
          <a:prstGeom prst="rect">
            <a:avLst/>
          </a:prstGeom>
        </p:spPr>
        <p:txBody>
          <a:bodyPr lIns="0" tIns="45720" rIns="91440" bIns="45720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1pPr>
            <a:lvl2pPr marL="466725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2pPr>
            <a:lvl3pPr marL="293688" marR="0" indent="-2936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3pPr>
            <a:lvl4pPr marL="461963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tabLst/>
              <a:defRPr sz="1400" b="0" i="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4pPr>
            <a:lvl5pPr marL="628650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" panose="020B0504040202090203" pitchFamily="34" charset="0"/>
                <a:ea typeface="+mn-ea"/>
                <a:cs typeface="+mn-cs"/>
              </a:defRPr>
            </a:lvl5pPr>
            <a:lvl6pPr marL="8016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3004864-865E-11A2-14E7-28A3DD8E2FDD}"/>
              </a:ext>
            </a:extLst>
          </p:cNvPr>
          <p:cNvSpPr txBox="1"/>
          <p:nvPr/>
        </p:nvSpPr>
        <p:spPr>
          <a:xfrm>
            <a:off x="9934061" y="33477"/>
            <a:ext cx="33066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2"/>
              </a:rPr>
              <a:t>Business Internet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8461E8F-5F08-DB32-3917-C715EFF109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9571" y="836268"/>
            <a:ext cx="7897327" cy="5782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2230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C324BB-FFE5-59EF-E96E-CF1F7423C5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24">
            <a:extLst>
              <a:ext uri="{FF2B5EF4-FFF2-40B4-BE49-F238E27FC236}">
                <a16:creationId xmlns:a16="http://schemas.microsoft.com/office/drawing/2014/main" id="{C76E33F9-631F-54CC-5CAF-880446982B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7326" y="126521"/>
            <a:ext cx="9616440" cy="928201"/>
          </a:xfrm>
        </p:spPr>
        <p:txBody>
          <a:bodyPr/>
          <a:lstStyle/>
          <a:p>
            <a:r>
              <a:rPr lang="en-US" dirty="0"/>
              <a:t>T-Mobile Business Internet Promo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939885-CABF-6AFA-31FB-E70D268464B7}"/>
              </a:ext>
            </a:extLst>
          </p:cNvPr>
          <p:cNvSpPr txBox="1"/>
          <p:nvPr/>
        </p:nvSpPr>
        <p:spPr>
          <a:xfrm rot="16200000">
            <a:off x="-459364" y="5485096"/>
            <a:ext cx="173957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6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Neo Office" panose="020B0504040202090203" pitchFamily="34" charset="77"/>
                <a:ea typeface="Bebas Neue Bold" charset="0"/>
                <a:cs typeface="Bebas Neue Bold" charset="0"/>
              </a:rPr>
              <a:t>CONFIDENTIAL</a:t>
            </a:r>
          </a:p>
        </p:txBody>
      </p:sp>
      <p:sp>
        <p:nvSpPr>
          <p:cNvPr id="7" name="Text Placeholder 25">
            <a:extLst>
              <a:ext uri="{FF2B5EF4-FFF2-40B4-BE49-F238E27FC236}">
                <a16:creationId xmlns:a16="http://schemas.microsoft.com/office/drawing/2014/main" id="{9FB07C0F-DBDD-92DA-8DFE-4676111A65F1}"/>
              </a:ext>
            </a:extLst>
          </p:cNvPr>
          <p:cNvSpPr txBox="1">
            <a:spLocks/>
          </p:cNvSpPr>
          <p:nvPr/>
        </p:nvSpPr>
        <p:spPr>
          <a:xfrm>
            <a:off x="141280" y="836268"/>
            <a:ext cx="11583357" cy="5302313"/>
          </a:xfrm>
          <a:prstGeom prst="rect">
            <a:avLst/>
          </a:prstGeom>
        </p:spPr>
        <p:txBody>
          <a:bodyPr lIns="0" tIns="45720" rIns="91440" bIns="45720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1pPr>
            <a:lvl2pPr marL="466725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2pPr>
            <a:lvl3pPr marL="293688" marR="0" indent="-2936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3pPr>
            <a:lvl4pPr marL="461963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tabLst/>
              <a:defRPr sz="1400" b="0" i="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4pPr>
            <a:lvl5pPr marL="628650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" panose="020B0504040202090203" pitchFamily="34" charset="0"/>
                <a:ea typeface="+mn-ea"/>
                <a:cs typeface="+mn-cs"/>
              </a:defRPr>
            </a:lvl5pPr>
            <a:lvl6pPr marL="8016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spcBef>
                <a:spcPts val="1000"/>
              </a:spcBef>
              <a:buAutoNum type="arabicPeriod" startAt="6"/>
            </a:pPr>
            <a:endParaRPr lang="en-US" sz="1600" dirty="0">
              <a:latin typeface="TeleNeo Office" panose="020B0504040202090203" pitchFamily="34" charset="0"/>
            </a:endParaRPr>
          </a:p>
          <a:p>
            <a:pPr lvl="1"/>
            <a:endParaRPr lang="en-US" sz="1600" dirty="0">
              <a:latin typeface="TeleNeo Office" panose="020B0504040202090203" pitchFamily="34" charset="0"/>
            </a:endParaRPr>
          </a:p>
          <a:p>
            <a:pPr lvl="1"/>
            <a:endParaRPr lang="en-US" sz="1600" dirty="0">
              <a:latin typeface="TeleNeo Office" panose="020B0504040202090203" pitchFamily="34" charset="0"/>
            </a:endParaRPr>
          </a:p>
          <a:p>
            <a:pPr marL="342900" indent="-342900">
              <a:buAutoNum type="arabicPeriod" startAt="3"/>
            </a:pPr>
            <a:endParaRPr lang="en-US" sz="1600" dirty="0">
              <a:latin typeface="+mn-lt"/>
            </a:endParaRPr>
          </a:p>
          <a:p>
            <a:pPr marL="342900" indent="-342900">
              <a:buAutoNum type="arabicPeriod" startAt="2"/>
            </a:pPr>
            <a:endParaRPr lang="en-US" sz="1600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sz="1600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sz="1050" dirty="0"/>
          </a:p>
          <a:p>
            <a:pPr marL="0" indent="0">
              <a:buNone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8" name="Text Placeholder 25">
            <a:extLst>
              <a:ext uri="{FF2B5EF4-FFF2-40B4-BE49-F238E27FC236}">
                <a16:creationId xmlns:a16="http://schemas.microsoft.com/office/drawing/2014/main" id="{88EE1E1D-1D4E-04CE-840C-48D867B6CCB1}"/>
              </a:ext>
            </a:extLst>
          </p:cNvPr>
          <p:cNvSpPr txBox="1">
            <a:spLocks/>
          </p:cNvSpPr>
          <p:nvPr/>
        </p:nvSpPr>
        <p:spPr>
          <a:xfrm>
            <a:off x="8253164" y="3683056"/>
            <a:ext cx="4067836" cy="3819524"/>
          </a:xfrm>
          <a:prstGeom prst="rect">
            <a:avLst/>
          </a:prstGeom>
        </p:spPr>
        <p:txBody>
          <a:bodyPr lIns="0" tIns="45720" rIns="91440" bIns="45720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1pPr>
            <a:lvl2pPr marL="466725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2pPr>
            <a:lvl3pPr marL="293688" marR="0" indent="-2936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3pPr>
            <a:lvl4pPr marL="461963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tabLst/>
              <a:defRPr sz="1400" b="0" i="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4pPr>
            <a:lvl5pPr marL="628650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" panose="020B0504040202090203" pitchFamily="34" charset="0"/>
                <a:ea typeface="+mn-ea"/>
                <a:cs typeface="+mn-cs"/>
              </a:defRPr>
            </a:lvl5pPr>
            <a:lvl6pPr marL="8016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06D91DF-CEB7-C416-E5C8-33EB88FDC6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280" y="1054722"/>
            <a:ext cx="3378374" cy="425471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BFE184A-288D-3515-D944-2DD8DD8FED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39743" y="1618792"/>
            <a:ext cx="3791606" cy="201112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5A350D7-2A81-196B-D346-90B0EB728A09}"/>
              </a:ext>
            </a:extLst>
          </p:cNvPr>
          <p:cNvSpPr txBox="1"/>
          <p:nvPr/>
        </p:nvSpPr>
        <p:spPr>
          <a:xfrm>
            <a:off x="3944210" y="719419"/>
            <a:ext cx="22906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B/VBS/Enterpris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2EE2D85-F521-1310-707A-B3D6A68243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82625" y="3831856"/>
            <a:ext cx="4814465" cy="960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0152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8223E0-73AC-E7FD-3414-8A1C5919C5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24">
            <a:extLst>
              <a:ext uri="{FF2B5EF4-FFF2-40B4-BE49-F238E27FC236}">
                <a16:creationId xmlns:a16="http://schemas.microsoft.com/office/drawing/2014/main" id="{FBD50C6A-DC44-7BE1-E9A4-62004A1CAB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7326" y="126521"/>
            <a:ext cx="9616440" cy="928201"/>
          </a:xfrm>
        </p:spPr>
        <p:txBody>
          <a:bodyPr/>
          <a:lstStyle/>
          <a:p>
            <a:r>
              <a:rPr lang="en-US" dirty="0"/>
              <a:t>T-Mobile Business Internet Promo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A1B2EFF-3C00-1E49-762B-D141E89B449C}"/>
              </a:ext>
            </a:extLst>
          </p:cNvPr>
          <p:cNvSpPr txBox="1"/>
          <p:nvPr/>
        </p:nvSpPr>
        <p:spPr>
          <a:xfrm rot="16200000">
            <a:off x="-459364" y="5485096"/>
            <a:ext cx="173957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6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Neo Office" panose="020B0504040202090203" pitchFamily="34" charset="77"/>
                <a:ea typeface="Bebas Neue Bold" charset="0"/>
                <a:cs typeface="Bebas Neue Bold" charset="0"/>
              </a:rPr>
              <a:t>CONFIDENTIAL</a:t>
            </a:r>
          </a:p>
        </p:txBody>
      </p:sp>
      <p:sp>
        <p:nvSpPr>
          <p:cNvPr id="7" name="Text Placeholder 25">
            <a:extLst>
              <a:ext uri="{FF2B5EF4-FFF2-40B4-BE49-F238E27FC236}">
                <a16:creationId xmlns:a16="http://schemas.microsoft.com/office/drawing/2014/main" id="{C8054755-09C4-622A-B163-CF2936F443C7}"/>
              </a:ext>
            </a:extLst>
          </p:cNvPr>
          <p:cNvSpPr txBox="1">
            <a:spLocks/>
          </p:cNvSpPr>
          <p:nvPr/>
        </p:nvSpPr>
        <p:spPr>
          <a:xfrm>
            <a:off x="141280" y="836268"/>
            <a:ext cx="11583357" cy="5302313"/>
          </a:xfrm>
          <a:prstGeom prst="rect">
            <a:avLst/>
          </a:prstGeom>
        </p:spPr>
        <p:txBody>
          <a:bodyPr lIns="0" tIns="45720" rIns="91440" bIns="45720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1pPr>
            <a:lvl2pPr marL="466725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2pPr>
            <a:lvl3pPr marL="293688" marR="0" indent="-2936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3pPr>
            <a:lvl4pPr marL="461963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tabLst/>
              <a:defRPr sz="1400" b="0" i="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4pPr>
            <a:lvl5pPr marL="628650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" panose="020B0504040202090203" pitchFamily="34" charset="0"/>
                <a:ea typeface="+mn-ea"/>
                <a:cs typeface="+mn-cs"/>
              </a:defRPr>
            </a:lvl5pPr>
            <a:lvl6pPr marL="8016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spcBef>
                <a:spcPts val="1000"/>
              </a:spcBef>
              <a:buAutoNum type="arabicPeriod" startAt="6"/>
            </a:pPr>
            <a:endParaRPr lang="en-US" sz="1600" dirty="0">
              <a:latin typeface="TeleNeo Office" panose="020B0504040202090203" pitchFamily="34" charset="0"/>
            </a:endParaRPr>
          </a:p>
          <a:p>
            <a:pPr lvl="1"/>
            <a:endParaRPr lang="en-US" sz="1600" dirty="0">
              <a:latin typeface="TeleNeo Office" panose="020B0504040202090203" pitchFamily="34" charset="0"/>
            </a:endParaRPr>
          </a:p>
          <a:p>
            <a:pPr lvl="1"/>
            <a:endParaRPr lang="en-US" sz="1600" dirty="0">
              <a:latin typeface="TeleNeo Office" panose="020B0504040202090203" pitchFamily="34" charset="0"/>
            </a:endParaRPr>
          </a:p>
          <a:p>
            <a:pPr marL="342900" indent="-342900">
              <a:buAutoNum type="arabicPeriod" startAt="3"/>
            </a:pPr>
            <a:endParaRPr lang="en-US" sz="1600" dirty="0">
              <a:latin typeface="+mn-lt"/>
            </a:endParaRPr>
          </a:p>
          <a:p>
            <a:pPr marL="342900" indent="-342900">
              <a:buAutoNum type="arabicPeriod" startAt="2"/>
            </a:pPr>
            <a:endParaRPr lang="en-US" sz="1600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sz="1600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sz="1050" dirty="0"/>
          </a:p>
          <a:p>
            <a:pPr marL="0" indent="0">
              <a:buNone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8" name="Text Placeholder 25">
            <a:extLst>
              <a:ext uri="{FF2B5EF4-FFF2-40B4-BE49-F238E27FC236}">
                <a16:creationId xmlns:a16="http://schemas.microsoft.com/office/drawing/2014/main" id="{6D3C9D1E-0108-6201-7521-7D1126B11AE5}"/>
              </a:ext>
            </a:extLst>
          </p:cNvPr>
          <p:cNvSpPr txBox="1">
            <a:spLocks/>
          </p:cNvSpPr>
          <p:nvPr/>
        </p:nvSpPr>
        <p:spPr>
          <a:xfrm>
            <a:off x="8253164" y="3683056"/>
            <a:ext cx="4067836" cy="3819524"/>
          </a:xfrm>
          <a:prstGeom prst="rect">
            <a:avLst/>
          </a:prstGeom>
        </p:spPr>
        <p:txBody>
          <a:bodyPr lIns="0" tIns="45720" rIns="91440" bIns="45720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1pPr>
            <a:lvl2pPr marL="466725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2pPr>
            <a:lvl3pPr marL="293688" marR="0" indent="-2936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3pPr>
            <a:lvl4pPr marL="461963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tabLst/>
              <a:defRPr sz="1400" b="0" i="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4pPr>
            <a:lvl5pPr marL="628650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" panose="020B0504040202090203" pitchFamily="34" charset="0"/>
                <a:ea typeface="+mn-ea"/>
                <a:cs typeface="+mn-cs"/>
              </a:defRPr>
            </a:lvl5pPr>
            <a:lvl6pPr marL="8016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870B446-ED25-06BA-1780-AF57DBDCED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90946" y="4100371"/>
            <a:ext cx="3782799" cy="145932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BB7A4A4-DF5C-A2FA-93EF-072E90E607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5706" y="1051590"/>
            <a:ext cx="2962946" cy="474815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4995A4A-059F-4942-CFC0-D7BDF6E1A7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8180" y="975766"/>
            <a:ext cx="5115639" cy="317226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210E0EC-3058-8C99-6764-B9D0B38E26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36635" y="5077788"/>
            <a:ext cx="6114085" cy="154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9668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0D50BB-6E68-1A46-73FA-73395F914D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24">
            <a:extLst>
              <a:ext uri="{FF2B5EF4-FFF2-40B4-BE49-F238E27FC236}">
                <a16:creationId xmlns:a16="http://schemas.microsoft.com/office/drawing/2014/main" id="{D78558F2-F640-14A5-CFC5-8811D14738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7326" y="126521"/>
            <a:ext cx="9616440" cy="928201"/>
          </a:xfrm>
        </p:spPr>
        <p:txBody>
          <a:bodyPr/>
          <a:lstStyle/>
          <a:p>
            <a:r>
              <a:rPr lang="en-US" dirty="0"/>
              <a:t>T-Mobile Business Internet Promo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A3324DA-DC17-F698-DDE1-7949D4180192}"/>
              </a:ext>
            </a:extLst>
          </p:cNvPr>
          <p:cNvSpPr txBox="1"/>
          <p:nvPr/>
        </p:nvSpPr>
        <p:spPr>
          <a:xfrm rot="16200000">
            <a:off x="-459364" y="5485096"/>
            <a:ext cx="173957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6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Neo Office" panose="020B0504040202090203" pitchFamily="34" charset="77"/>
                <a:ea typeface="Bebas Neue Bold" charset="0"/>
                <a:cs typeface="Bebas Neue Bold" charset="0"/>
              </a:rPr>
              <a:t>CONFIDENTIAL</a:t>
            </a:r>
          </a:p>
        </p:txBody>
      </p:sp>
      <p:sp>
        <p:nvSpPr>
          <p:cNvPr id="7" name="Text Placeholder 25">
            <a:extLst>
              <a:ext uri="{FF2B5EF4-FFF2-40B4-BE49-F238E27FC236}">
                <a16:creationId xmlns:a16="http://schemas.microsoft.com/office/drawing/2014/main" id="{C206D3F3-AE15-CE38-AE20-16DAEE4C4912}"/>
              </a:ext>
            </a:extLst>
          </p:cNvPr>
          <p:cNvSpPr txBox="1">
            <a:spLocks/>
          </p:cNvSpPr>
          <p:nvPr/>
        </p:nvSpPr>
        <p:spPr>
          <a:xfrm>
            <a:off x="141280" y="836268"/>
            <a:ext cx="11583357" cy="5302313"/>
          </a:xfrm>
          <a:prstGeom prst="rect">
            <a:avLst/>
          </a:prstGeom>
        </p:spPr>
        <p:txBody>
          <a:bodyPr lIns="0" tIns="45720" rIns="91440" bIns="45720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1pPr>
            <a:lvl2pPr marL="466725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2pPr>
            <a:lvl3pPr marL="293688" marR="0" indent="-2936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3pPr>
            <a:lvl4pPr marL="461963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tabLst/>
              <a:defRPr sz="1400" b="0" i="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4pPr>
            <a:lvl5pPr marL="628650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" panose="020B0504040202090203" pitchFamily="34" charset="0"/>
                <a:ea typeface="+mn-ea"/>
                <a:cs typeface="+mn-cs"/>
              </a:defRPr>
            </a:lvl5pPr>
            <a:lvl6pPr marL="8016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spcBef>
                <a:spcPts val="1000"/>
              </a:spcBef>
              <a:buAutoNum type="arabicPeriod" startAt="6"/>
            </a:pPr>
            <a:endParaRPr lang="en-US" sz="1600" dirty="0">
              <a:latin typeface="TeleNeo Office" panose="020B0504040202090203" pitchFamily="34" charset="0"/>
            </a:endParaRPr>
          </a:p>
          <a:p>
            <a:pPr lvl="1"/>
            <a:endParaRPr lang="en-US" sz="1600" dirty="0">
              <a:latin typeface="TeleNeo Office" panose="020B0504040202090203" pitchFamily="34" charset="0"/>
            </a:endParaRPr>
          </a:p>
          <a:p>
            <a:pPr lvl="1"/>
            <a:endParaRPr lang="en-US" sz="1600" dirty="0">
              <a:latin typeface="TeleNeo Office" panose="020B0504040202090203" pitchFamily="34" charset="0"/>
            </a:endParaRPr>
          </a:p>
          <a:p>
            <a:pPr marL="342900" indent="-342900">
              <a:buAutoNum type="arabicPeriod" startAt="3"/>
            </a:pPr>
            <a:endParaRPr lang="en-US" sz="1600" dirty="0">
              <a:latin typeface="+mn-lt"/>
            </a:endParaRPr>
          </a:p>
          <a:p>
            <a:pPr marL="342900" indent="-342900">
              <a:buAutoNum type="arabicPeriod" startAt="2"/>
            </a:pPr>
            <a:endParaRPr lang="en-US" sz="1600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sz="1600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sz="1050" dirty="0"/>
          </a:p>
          <a:p>
            <a:pPr marL="0" indent="0">
              <a:buNone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8" name="Text Placeholder 25">
            <a:extLst>
              <a:ext uri="{FF2B5EF4-FFF2-40B4-BE49-F238E27FC236}">
                <a16:creationId xmlns:a16="http://schemas.microsoft.com/office/drawing/2014/main" id="{6887D046-6D7B-05E7-67CC-E16F82A90EAE}"/>
              </a:ext>
            </a:extLst>
          </p:cNvPr>
          <p:cNvSpPr txBox="1">
            <a:spLocks/>
          </p:cNvSpPr>
          <p:nvPr/>
        </p:nvSpPr>
        <p:spPr>
          <a:xfrm>
            <a:off x="8253164" y="3683056"/>
            <a:ext cx="4067836" cy="3819524"/>
          </a:xfrm>
          <a:prstGeom prst="rect">
            <a:avLst/>
          </a:prstGeom>
        </p:spPr>
        <p:txBody>
          <a:bodyPr lIns="0" tIns="45720" rIns="91440" bIns="45720" anchor="t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1pPr>
            <a:lvl2pPr marL="466725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2pPr>
            <a:lvl3pPr marL="293688" marR="0" indent="-2936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400" b="0" i="0" kern="1200" spc="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3pPr>
            <a:lvl4pPr marL="461963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tabLst/>
              <a:defRPr sz="1400" b="0" i="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4pPr>
            <a:lvl5pPr marL="628650" indent="-166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" panose="020B0504040202090203" pitchFamily="34" charset="0"/>
                <a:ea typeface="+mn-ea"/>
                <a:cs typeface="+mn-cs"/>
              </a:defRPr>
            </a:lvl5pPr>
            <a:lvl6pPr marL="8016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 baseline="0">
                <a:solidFill>
                  <a:schemeClr val="tx1"/>
                </a:solidFill>
                <a:latin typeface="TeleNeo Office" panose="020B0504040202090203" pitchFamily="34" charset="77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8E7E539-94F6-9AAC-DB0B-3BC0D415FC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280" y="883213"/>
            <a:ext cx="3269893" cy="520842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397B701-3D33-B2F4-98FC-6CFE33D5A2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97088" y="883213"/>
            <a:ext cx="3708655" cy="303756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F74A3BC-2246-63B7-DAD5-9177C1E383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05954" y="4345058"/>
            <a:ext cx="8057461" cy="1369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5071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tF72kQ.qynX9c3Ffo2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Text-Layouts">
  <a:themeElements>
    <a:clrScheme name="Custom 3">
      <a:dk1>
        <a:srgbClr val="00000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C8C8C8"/>
      </a:accent2>
      <a:accent3>
        <a:srgbClr val="C8C8C8"/>
      </a:accent3>
      <a:accent4>
        <a:srgbClr val="861B54"/>
      </a:accent4>
      <a:accent5>
        <a:srgbClr val="9B9B9B"/>
      </a:accent5>
      <a:accent6>
        <a:srgbClr val="3C3C3C"/>
      </a:accent6>
      <a:hlink>
        <a:srgbClr val="E20074"/>
      </a:hlink>
      <a:folHlink>
        <a:srgbClr val="97024F"/>
      </a:folHlink>
    </a:clrScheme>
    <a:fontScheme name="TeleNeo-Office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spc="300">
            <a:latin typeface="linea-basic-10" charset="0"/>
            <a:ea typeface="linea-basic-10" charset="0"/>
            <a:cs typeface="linea-basic-10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-Mobile_PPT-Template_Simple_Magenta_2022-04-05.pptx" id="{6A540E22-ADDE-49AE-B459-59D66655AFAE}" vid="{5B588D47-51B7-4969-9EFB-16DAE0BC6596}"/>
    </a:ext>
  </a:extLst>
</a:theme>
</file>

<file path=ppt/theme/theme2.xml><?xml version="1.0" encoding="utf-8"?>
<a:theme xmlns:a="http://schemas.openxmlformats.org/drawingml/2006/main" name="1_Instructions">
  <a:themeElements>
    <a:clrScheme name="Custom 3">
      <a:dk1>
        <a:srgbClr val="00000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C8C8C8"/>
      </a:accent2>
      <a:accent3>
        <a:srgbClr val="C8C8C8"/>
      </a:accent3>
      <a:accent4>
        <a:srgbClr val="861B54"/>
      </a:accent4>
      <a:accent5>
        <a:srgbClr val="9B9B9B"/>
      </a:accent5>
      <a:accent6>
        <a:srgbClr val="3C3C3C"/>
      </a:accent6>
      <a:hlink>
        <a:srgbClr val="E20074"/>
      </a:hlink>
      <a:folHlink>
        <a:srgbClr val="97024F"/>
      </a:folHlink>
    </a:clrScheme>
    <a:fontScheme name="TeleNeo-Office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spc="300">
            <a:latin typeface="linea-basic-10" charset="0"/>
            <a:ea typeface="linea-basic-10" charset="0"/>
            <a:cs typeface="linea-basic-10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-Mobile_PPT-Template_Simple_Magenta_2022-04-05.pptx" id="{6A540E22-ADDE-49AE-B459-59D66655AFAE}" vid="{E94004F6-26D2-4CE3-A072-E3B1F43E1D50}"/>
    </a:ext>
  </a:extLst>
</a:theme>
</file>

<file path=ppt/theme/theme3.xml><?xml version="1.0" encoding="utf-8"?>
<a:theme xmlns:a="http://schemas.openxmlformats.org/drawingml/2006/main" name="13_Closing-Slides">
  <a:themeElements>
    <a:clrScheme name="Custom 3">
      <a:dk1>
        <a:srgbClr val="00000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C8C8C8"/>
      </a:accent2>
      <a:accent3>
        <a:srgbClr val="C8C8C8"/>
      </a:accent3>
      <a:accent4>
        <a:srgbClr val="861B54"/>
      </a:accent4>
      <a:accent5>
        <a:srgbClr val="9B9B9B"/>
      </a:accent5>
      <a:accent6>
        <a:srgbClr val="3C3C3C"/>
      </a:accent6>
      <a:hlink>
        <a:srgbClr val="E20074"/>
      </a:hlink>
      <a:folHlink>
        <a:srgbClr val="97024F"/>
      </a:folHlink>
    </a:clrScheme>
    <a:fontScheme name="TeleNeo-Office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spc="300">
            <a:latin typeface="linea-basic-10" charset="0"/>
            <a:ea typeface="linea-basic-10" charset="0"/>
            <a:cs typeface="linea-basic-10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-Mobile_PPT-Template_Simple_Magenta_2022-04-05.pptx" id="{6A540E22-ADDE-49AE-B459-59D66655AFAE}" vid="{9EC8738E-F066-4FDE-896C-FA186E29FA71}"/>
    </a:ext>
  </a:extLst>
</a:theme>
</file>

<file path=ppt/theme/theme4.xml><?xml version="1.0" encoding="utf-8"?>
<a:theme xmlns:a="http://schemas.openxmlformats.org/drawingml/2006/main" name="10_04 - Body Slides">
  <a:themeElements>
    <a:clrScheme name="T-Mobile 2014">
      <a:dk1>
        <a:srgbClr val="00000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6A6A6A"/>
      </a:accent2>
      <a:accent3>
        <a:srgbClr val="9B9B9B"/>
      </a:accent3>
      <a:accent4>
        <a:srgbClr val="E8E8E8"/>
      </a:accent4>
      <a:accent5>
        <a:srgbClr val="000000"/>
      </a:accent5>
      <a:accent6>
        <a:srgbClr val="9B9B9B"/>
      </a:accent6>
      <a:hlink>
        <a:srgbClr val="000000"/>
      </a:hlink>
      <a:folHlink>
        <a:srgbClr val="000000"/>
      </a:folHlink>
    </a:clrScheme>
    <a:fontScheme name="Custom 2">
      <a:majorFont>
        <a:latin typeface="TeleNeo Office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>
            <a:latin typeface="Tele-GroteskNor" pitchFamily="2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44072D77-F0F2-0540-A1BF-E55DBA056F20}" vid="{8A54A7F9-7135-8F47-9A49-829B7BE900B2}"/>
    </a:ext>
  </a:extLst>
</a:theme>
</file>

<file path=ppt/theme/theme5.xml><?xml version="1.0" encoding="utf-8"?>
<a:theme xmlns:a="http://schemas.openxmlformats.org/drawingml/2006/main" name="5_Text-Layouts">
  <a:themeElements>
    <a:clrScheme name="Custom 3">
      <a:dk1>
        <a:srgbClr val="00000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C8C8C8"/>
      </a:accent2>
      <a:accent3>
        <a:srgbClr val="C8C8C8"/>
      </a:accent3>
      <a:accent4>
        <a:srgbClr val="861B54"/>
      </a:accent4>
      <a:accent5>
        <a:srgbClr val="9B9B9B"/>
      </a:accent5>
      <a:accent6>
        <a:srgbClr val="3C3C3C"/>
      </a:accent6>
      <a:hlink>
        <a:srgbClr val="E20074"/>
      </a:hlink>
      <a:folHlink>
        <a:srgbClr val="97024F"/>
      </a:folHlink>
    </a:clrScheme>
    <a:fontScheme name="TeleNeo-Office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spc="300">
            <a:latin typeface="linea-basic-10" charset="0"/>
            <a:ea typeface="linea-basic-10" charset="0"/>
            <a:cs typeface="linea-basic-10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-Mobile_PPT-Template_Simple_Magenta_2022-04-05.pptx" id="{6A540E22-ADDE-49AE-B459-59D66655AFAE}" vid="{5B588D47-51B7-4969-9EFB-16DAE0BC6596}"/>
    </a:ext>
  </a:extLst>
</a:theme>
</file>

<file path=ppt/theme/theme6.xml><?xml version="1.0" encoding="utf-8"?>
<a:theme xmlns:a="http://schemas.openxmlformats.org/drawingml/2006/main" name="2_Cover-Pages">
  <a:themeElements>
    <a:clrScheme name="Custom 3">
      <a:dk1>
        <a:srgbClr val="00000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C8C8C8"/>
      </a:accent2>
      <a:accent3>
        <a:srgbClr val="C8C8C8"/>
      </a:accent3>
      <a:accent4>
        <a:srgbClr val="861B54"/>
      </a:accent4>
      <a:accent5>
        <a:srgbClr val="9B9B9B"/>
      </a:accent5>
      <a:accent6>
        <a:srgbClr val="3C3C3C"/>
      </a:accent6>
      <a:hlink>
        <a:srgbClr val="E20074"/>
      </a:hlink>
      <a:folHlink>
        <a:srgbClr val="97024F"/>
      </a:folHlink>
    </a:clrScheme>
    <a:fontScheme name="TeleNeo-Office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spc="300">
            <a:latin typeface="linea-basic-10" charset="0"/>
            <a:ea typeface="linea-basic-10" charset="0"/>
            <a:cs typeface="linea-basic-10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-Mobile_PPT-Template_Simple_Magenta_2022-04-05.pptx" id="{6A540E22-ADDE-49AE-B459-59D66655AFAE}" vid="{4E939269-926D-48C2-BB7A-1121E2419A38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EBEF7F4AB10648BD45283658C405A3" ma:contentTypeVersion="6" ma:contentTypeDescription="Create a new document." ma:contentTypeScope="" ma:versionID="c1ada6c8ab4417c8c7d71d21adaa1aa3">
  <xsd:schema xmlns:xsd="http://www.w3.org/2001/XMLSchema" xmlns:xs="http://www.w3.org/2001/XMLSchema" xmlns:p="http://schemas.microsoft.com/office/2006/metadata/properties" xmlns:ns2="58379ace-f694-4820-98ad-4a75c2ba81a9" xmlns:ns3="53081948-689a-46be-bbcd-de3ced38bfee" targetNamespace="http://schemas.microsoft.com/office/2006/metadata/properties" ma:root="true" ma:fieldsID="8c42dd3f7f085fbe5231db64e9f22479" ns2:_="" ns3:_="">
    <xsd:import namespace="58379ace-f694-4820-98ad-4a75c2ba81a9"/>
    <xsd:import namespace="53081948-689a-46be-bbcd-de3ced38bfe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379ace-f694-4820-98ad-4a75c2ba81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081948-689a-46be-bbcd-de3ced38bfe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FA3C683-13E5-4E81-A1F5-8EA6EB59B27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A8600FA9-0B84-430B-90E0-FDCE47118F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8379ace-f694-4820-98ad-4a75c2ba81a9"/>
    <ds:schemaRef ds:uri="53081948-689a-46be-bbcd-de3ced38bfe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064633E-1AF3-4320-92BA-BB2F299F8032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7af72c41-31f4-4d40-a6d0-808117dc4d77}" enabled="1" method="Standard" siteId="{be0f980b-dd99-4b19-bd7b-bc71a09b026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5395</TotalTime>
  <Words>72</Words>
  <Application>Microsoft Office PowerPoint</Application>
  <PresentationFormat>Widescreen</PresentationFormat>
  <Paragraphs>141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36" baseType="lpstr">
      <vt:lpstr>Aptos</vt:lpstr>
      <vt:lpstr>Arial</vt:lpstr>
      <vt:lpstr>linea-basic-10</vt:lpstr>
      <vt:lpstr>Lucida Sans Unicode</vt:lpstr>
      <vt:lpstr>Source Sans Pro</vt:lpstr>
      <vt:lpstr>System Font Regular</vt:lpstr>
      <vt:lpstr>Tele-GroteskHal</vt:lpstr>
      <vt:lpstr>Tele-GroteskNor</vt:lpstr>
      <vt:lpstr>Tele-GroteskUlt</vt:lpstr>
      <vt:lpstr>TeleNeo</vt:lpstr>
      <vt:lpstr>TeleNeo Office</vt:lpstr>
      <vt:lpstr>TeleNeo Office ExtraBold</vt:lpstr>
      <vt:lpstr>TeleNeo Office Medium</vt:lpstr>
      <vt:lpstr>Wingdings</vt:lpstr>
      <vt:lpstr>4_Text-Layouts</vt:lpstr>
      <vt:lpstr>1_Instructions</vt:lpstr>
      <vt:lpstr>13_Closing-Slides</vt:lpstr>
      <vt:lpstr>10_04 - Body Slides</vt:lpstr>
      <vt:lpstr>5_Text-Layouts</vt:lpstr>
      <vt:lpstr>2_Cover-Pages</vt:lpstr>
      <vt:lpstr>think-cell Slide</vt:lpstr>
      <vt:lpstr>Voice</vt:lpstr>
      <vt:lpstr>T-Mobile SuperMobile Plans</vt:lpstr>
      <vt:lpstr>T-Mobile Voice Promos</vt:lpstr>
      <vt:lpstr>Business Internet</vt:lpstr>
      <vt:lpstr>T-Mobile Business Internet Plans</vt:lpstr>
      <vt:lpstr>T-Mobile Business Internet Plans</vt:lpstr>
      <vt:lpstr>T-Mobile Business Internet Promos</vt:lpstr>
      <vt:lpstr>T-Mobile Business Internet Promos</vt:lpstr>
      <vt:lpstr>T-Mobile Business Internet Promos</vt:lpstr>
      <vt:lpstr>T-Mobile Business Internet Promos</vt:lpstr>
      <vt:lpstr>Mobile Internet</vt:lpstr>
      <vt:lpstr>T-Mobile Mobile Internet - Hotspots</vt:lpstr>
      <vt:lpstr>T-Mobile Mobile Internet – Connected Laptops</vt:lpstr>
      <vt:lpstr>T-Mobile Mobile Internet</vt:lpstr>
      <vt:lpstr>PowerPoint Presentation</vt:lpstr>
    </vt:vector>
  </TitlesOfParts>
  <Company>TMobile U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llHub – Weekly Update Call</dc:title>
  <dc:creator>Richter, Alicia</dc:creator>
  <cp:lastModifiedBy>Gipple, Leslie</cp:lastModifiedBy>
  <cp:revision>17</cp:revision>
  <dcterms:created xsi:type="dcterms:W3CDTF">2024-09-10T17:44:27Z</dcterms:created>
  <dcterms:modified xsi:type="dcterms:W3CDTF">2025-11-10T23:3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EBEF7F4AB10648BD45283658C405A3</vt:lpwstr>
  </property>
</Properties>
</file>